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60"/>
  </p:notesMasterIdLst>
  <p:sldIdLst>
    <p:sldId id="312" r:id="rId2"/>
    <p:sldId id="317" r:id="rId3"/>
    <p:sldId id="315" r:id="rId4"/>
    <p:sldId id="316" r:id="rId5"/>
    <p:sldId id="318" r:id="rId6"/>
    <p:sldId id="313" r:id="rId7"/>
    <p:sldId id="310" r:id="rId8"/>
    <p:sldId id="311" r:id="rId9"/>
    <p:sldId id="296" r:id="rId10"/>
    <p:sldId id="306" r:id="rId11"/>
    <p:sldId id="308" r:id="rId12"/>
    <p:sldId id="309" r:id="rId13"/>
    <p:sldId id="305" r:id="rId14"/>
    <p:sldId id="304" r:id="rId15"/>
    <p:sldId id="301" r:id="rId16"/>
    <p:sldId id="300" r:id="rId17"/>
    <p:sldId id="302" r:id="rId18"/>
    <p:sldId id="303" r:id="rId19"/>
    <p:sldId id="299" r:id="rId20"/>
    <p:sldId id="297" r:id="rId21"/>
    <p:sldId id="298" r:id="rId22"/>
    <p:sldId id="289" r:id="rId23"/>
    <p:sldId id="291" r:id="rId24"/>
    <p:sldId id="294" r:id="rId25"/>
    <p:sldId id="295" r:id="rId26"/>
    <p:sldId id="292" r:id="rId27"/>
    <p:sldId id="290" r:id="rId28"/>
    <p:sldId id="277" r:id="rId29"/>
    <p:sldId id="284" r:id="rId30"/>
    <p:sldId id="278" r:id="rId31"/>
    <p:sldId id="279" r:id="rId32"/>
    <p:sldId id="280" r:id="rId33"/>
    <p:sldId id="281" r:id="rId34"/>
    <p:sldId id="283" r:id="rId35"/>
    <p:sldId id="287" r:id="rId36"/>
    <p:sldId id="288" r:id="rId37"/>
    <p:sldId id="285" r:id="rId38"/>
    <p:sldId id="256" r:id="rId39"/>
    <p:sldId id="265" r:id="rId40"/>
    <p:sldId id="258" r:id="rId41"/>
    <p:sldId id="260" r:id="rId42"/>
    <p:sldId id="275" r:id="rId43"/>
    <p:sldId id="266" r:id="rId44"/>
    <p:sldId id="276" r:id="rId45"/>
    <p:sldId id="263" r:id="rId46"/>
    <p:sldId id="261" r:id="rId47"/>
    <p:sldId id="262" r:id="rId48"/>
    <p:sldId id="259" r:id="rId49"/>
    <p:sldId id="268" r:id="rId50"/>
    <p:sldId id="257" r:id="rId51"/>
    <p:sldId id="264" r:id="rId52"/>
    <p:sldId id="273" r:id="rId53"/>
    <p:sldId id="269" r:id="rId54"/>
    <p:sldId id="274" r:id="rId55"/>
    <p:sldId id="270" r:id="rId56"/>
    <p:sldId id="267" r:id="rId57"/>
    <p:sldId id="271" r:id="rId58"/>
    <p:sldId id="272" r:id="rId59"/>
  </p:sldIdLst>
  <p:sldSz cx="12192000" cy="6858000"/>
  <p:notesSz cx="6858000" cy="9144000"/>
  <p:custDataLst>
    <p:tags r:id="rId6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0.2" id="{42B534F3-79D7-4530-959F-78BE97453E2F}">
          <p14:sldIdLst>
            <p14:sldId id="312"/>
            <p14:sldId id="317"/>
            <p14:sldId id="315"/>
            <p14:sldId id="316"/>
            <p14:sldId id="318"/>
            <p14:sldId id="313"/>
          </p14:sldIdLst>
        </p14:section>
        <p14:section name="3.0.0" id="{67928435-224F-4A2D-B85D-D5C1AC744B2B}">
          <p14:sldIdLst>
            <p14:sldId id="310"/>
            <p14:sldId id="311"/>
          </p14:sldIdLst>
        </p14:section>
        <p14:section name="2.7.5" id="{A5B2B45F-984F-42BA-858D-47E63BC8D254}">
          <p14:sldIdLst>
            <p14:sldId id="296"/>
            <p14:sldId id="306"/>
            <p14:sldId id="308"/>
            <p14:sldId id="309"/>
            <p14:sldId id="305"/>
          </p14:sldIdLst>
        </p14:section>
        <p14:section name="2.7.4" id="{788B7926-24D9-40FE-9D33-F7330955021E}">
          <p14:sldIdLst>
            <p14:sldId id="304"/>
            <p14:sldId id="301"/>
            <p14:sldId id="300"/>
            <p14:sldId id="302"/>
            <p14:sldId id="303"/>
          </p14:sldIdLst>
        </p14:section>
        <p14:section name="2.7.3" id="{3BC91AF4-5AD9-4BB0-AE28-85CFB05FDC1C}">
          <p14:sldIdLst>
            <p14:sldId id="299"/>
            <p14:sldId id="297"/>
            <p14:sldId id="298"/>
          </p14:sldIdLst>
        </p14:section>
        <p14:section name="2.7.2" id="{6368390F-B288-4A86-B756-3BCD7FED0F5D}">
          <p14:sldIdLst>
            <p14:sldId id="289"/>
            <p14:sldId id="291"/>
            <p14:sldId id="294"/>
            <p14:sldId id="295"/>
            <p14:sldId id="292"/>
            <p14:sldId id="290"/>
          </p14:sldIdLst>
        </p14:section>
        <p14:section name="2.7.1" id="{C53AF696-C926-4875-93FB-C46668631ED3}">
          <p14:sldIdLst>
            <p14:sldId id="277"/>
            <p14:sldId id="284"/>
            <p14:sldId id="278"/>
            <p14:sldId id="279"/>
            <p14:sldId id="280"/>
            <p14:sldId id="281"/>
            <p14:sldId id="283"/>
            <p14:sldId id="287"/>
            <p14:sldId id="288"/>
            <p14:sldId id="285"/>
          </p14:sldIdLst>
        </p14:sectio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F2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660"/>
  </p:normalViewPr>
  <p:slideViewPr>
    <p:cSldViewPr snapToGrid="0">
      <p:cViewPr varScale="1">
        <p:scale>
          <a:sx n="107" d="100"/>
          <a:sy n="107" d="100"/>
        </p:scale>
        <p:origin x="49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tags" Target="tags/tag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24.04.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24.04.2025</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24.04.2025</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24.04.2025</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62" imgH="769" progId="TCLayout.ActiveDocument.1">
                  <p:embed/>
                </p:oleObj>
              </mc:Choice>
              <mc:Fallback>
                <p:oleObj name="think-cell Folie" r:id="rId3" imgW="762" imgH="769"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a:t>Mastertitelformat bearbeiten</a:t>
            </a:r>
            <a:endParaRPr lang="de-DE" dirty="0"/>
          </a:p>
        </p:txBody>
      </p:sp>
      <p:sp>
        <p:nvSpPr>
          <p:cNvPr id="6" name="Datumsplatzhalter 5"/>
          <p:cNvSpPr>
            <a:spLocks noGrp="1"/>
          </p:cNvSpPr>
          <p:nvPr>
            <p:ph type="dt" sz="half" idx="18"/>
          </p:nvPr>
        </p:nvSpPr>
        <p:spPr/>
        <p:txBody>
          <a:bodyPr/>
          <a:lstStyle/>
          <a:p>
            <a:fld id="{146DBEAB-51C5-4FBE-9B54-BC8F608043B0}" type="datetime1">
              <a:rPr lang="de-DE" smtClean="0"/>
              <a:t>24.04.2025</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24.04.2025</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24.04.2025</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24.04.2025</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24.04.2025</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24.04.2025</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24.04.2025</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24.04.2025</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24.04.2025</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4"/>
            </p:custDataLst>
            <p:extLst>
              <p:ext uri="{D42A27DB-BD31-4B8C-83A1-F6EECF244321}">
                <p14:modId xmlns:p14="http://schemas.microsoft.com/office/powerpoint/2010/main" val="106564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526" imgH="526" progId="TCLayout.ActiveDocument.1">
                  <p:embed/>
                </p:oleObj>
              </mc:Choice>
              <mc:Fallback>
                <p:oleObj name="think-cell Folie" r:id="rId16" imgW="526" imgH="52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4400" b="0" i="0" baseline="0" dirty="0">
              <a:latin typeface="Consolas" panose="020B0609020204030204" pitchFamily="49" charset="0"/>
              <a:ea typeface="+mj-ea"/>
              <a:cs typeface="+mj-cs"/>
              <a:sym typeface="Consolas" panose="020B0609020204030204" pitchFamily="49" charset="0"/>
            </a:endParaRPr>
          </a:p>
        </p:txBody>
      </p:sp>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24.04.2025</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6.xml"/><Relationship Id="rId7" Type="http://schemas.openxmlformats.org/officeDocument/2006/relationships/image" Target="../media/image15.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slide" Target="slide9.xml"/><Relationship Id="rId5" Type="http://schemas.openxmlformats.org/officeDocument/2006/relationships/image" Target="../media/image13.emf"/><Relationship Id="rId4" Type="http://schemas.openxmlformats.org/officeDocument/2006/relationships/oleObject" Target="../embeddings/oleObject10.bin"/><Relationship Id="rId9" Type="http://schemas.openxmlformats.org/officeDocument/2006/relationships/image" Target="../media/image17.png"/></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image" Target="../media/image18.png"/><Relationship Id="rId5" Type="http://schemas.openxmlformats.org/officeDocument/2006/relationships/tags" Target="../tags/tag23.xml"/><Relationship Id="rId10" Type="http://schemas.openxmlformats.org/officeDocument/2006/relationships/image" Target="../media/image13.emf"/><Relationship Id="rId4" Type="http://schemas.openxmlformats.org/officeDocument/2006/relationships/tags" Target="../tags/tag22.xml"/><Relationship Id="rId9"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3.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image" Target="../media/image23.png"/><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image" Target="../media/image22.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image" Target="../media/image13.emf"/><Relationship Id="rId5" Type="http://schemas.openxmlformats.org/officeDocument/2006/relationships/tags" Target="../tags/tag35.xml"/><Relationship Id="rId15" Type="http://schemas.openxmlformats.org/officeDocument/2006/relationships/image" Target="../media/image25.png"/><Relationship Id="rId10" Type="http://schemas.openxmlformats.org/officeDocument/2006/relationships/oleObject" Target="../embeddings/oleObject13.bin"/><Relationship Id="rId4" Type="http://schemas.openxmlformats.org/officeDocument/2006/relationships/tags" Target="../tags/tag34.xml"/><Relationship Id="rId9" Type="http://schemas.openxmlformats.org/officeDocument/2006/relationships/slideLayout" Target="../slideLayouts/slideLayout6.xml"/><Relationship Id="rId14" Type="http://schemas.openxmlformats.org/officeDocument/2006/relationships/image" Target="../media/image24.png"/></Relationships>
</file>

<file path=ppt/slides/_rels/slide1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14.bin"/><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13.emf"/><Relationship Id="rId9" Type="http://schemas.openxmlformats.org/officeDocument/2006/relationships/image" Target="../media/image30.png"/></Relationships>
</file>

<file path=ppt/slides/_rels/slide1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oleObject" Target="../embeddings/oleObject15.bin"/><Relationship Id="rId7" Type="http://schemas.openxmlformats.org/officeDocument/2006/relationships/image" Target="../media/image36.png"/><Relationship Id="rId2" Type="http://schemas.openxmlformats.org/officeDocument/2006/relationships/slideLayout" Target="../slideLayouts/slideLayout6.xml"/><Relationship Id="rId1" Type="http://schemas.openxmlformats.org/officeDocument/2006/relationships/tags" Target="../tags/tag40.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13.emf"/><Relationship Id="rId9" Type="http://schemas.openxmlformats.org/officeDocument/2006/relationships/hyperlink" Target="https://www.bkt-toolbox.de/overview_excel.html" TargetMode="Externa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emf"/></Relationships>
</file>

<file path=ppt/slides/_rels/slide2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6.xml"/><Relationship Id="rId7" Type="http://schemas.openxmlformats.org/officeDocument/2006/relationships/image" Target="../media/image39.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6.xml"/><Relationship Id="rId7" Type="http://schemas.openxmlformats.org/officeDocument/2006/relationships/image" Target="../media/image42.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3.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44.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image" Target="../media/image1.emf"/><Relationship Id="rId5" Type="http://schemas.openxmlformats.org/officeDocument/2006/relationships/tags" Target="../tags/tag55.xml"/><Relationship Id="rId10" Type="http://schemas.openxmlformats.org/officeDocument/2006/relationships/oleObject" Target="../embeddings/oleObject20.bin"/><Relationship Id="rId4" Type="http://schemas.openxmlformats.org/officeDocument/2006/relationships/tags" Target="../tags/tag54.xml"/><Relationship Id="rId9"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6.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7.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6.xml"/><Relationship Id="rId7" Type="http://schemas.openxmlformats.org/officeDocument/2006/relationships/image" Target="../media/image49.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23.bin"/><Relationship Id="rId9" Type="http://schemas.openxmlformats.org/officeDocument/2006/relationships/image" Target="../media/image51.png"/></Relationships>
</file>

<file path=ppt/slides/_rels/slide27.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6.xml"/><Relationship Id="rId7" Type="http://schemas.openxmlformats.org/officeDocument/2006/relationships/image" Target="../media/image53.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6.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4.emf"/></Relationships>
</file>

<file path=ppt/slides/_rels/slide30.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image" Target="../media/image58.png"/><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image" Target="../media/image57.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image" Target="../media/image1.emf"/><Relationship Id="rId5" Type="http://schemas.openxmlformats.org/officeDocument/2006/relationships/tags" Target="../tags/tag75.xml"/><Relationship Id="rId15" Type="http://schemas.openxmlformats.org/officeDocument/2006/relationships/image" Target="../media/image60.png"/><Relationship Id="rId10" Type="http://schemas.openxmlformats.org/officeDocument/2006/relationships/oleObject" Target="../embeddings/oleObject27.bin"/><Relationship Id="rId4" Type="http://schemas.openxmlformats.org/officeDocument/2006/relationships/tags" Target="../tags/tag74.xml"/><Relationship Id="rId9" Type="http://schemas.openxmlformats.org/officeDocument/2006/relationships/slideLayout" Target="../slideLayouts/slideLayout6.xml"/><Relationship Id="rId14" Type="http://schemas.openxmlformats.org/officeDocument/2006/relationships/image" Target="../media/image59.png"/></Relationships>
</file>

<file path=ppt/slides/_rels/slide31.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81.xml"/><Relationship Id="rId7" Type="http://schemas.openxmlformats.org/officeDocument/2006/relationships/image" Target="../media/image1.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oleObject" Target="../embeddings/oleObject28.bin"/><Relationship Id="rId5" Type="http://schemas.openxmlformats.org/officeDocument/2006/relationships/slideLayout" Target="../slideLayouts/slideLayout6.xml"/><Relationship Id="rId4" Type="http://schemas.openxmlformats.org/officeDocument/2006/relationships/tags" Target="../tags/tag82.xml"/></Relationships>
</file>

<file path=ppt/slides/_rels/slide32.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6.xml"/><Relationship Id="rId7" Type="http://schemas.openxmlformats.org/officeDocument/2006/relationships/image" Target="../media/image63.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62.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6.xml"/><Relationship Id="rId7" Type="http://schemas.openxmlformats.org/officeDocument/2006/relationships/image" Target="../media/image66.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65.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4.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slideLayout" Target="../slideLayouts/slideLayout6.xml"/><Relationship Id="rId7" Type="http://schemas.openxmlformats.org/officeDocument/2006/relationships/image" Target="../media/image69.jp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68.png"/><Relationship Id="rId5" Type="http://schemas.openxmlformats.org/officeDocument/2006/relationships/image" Target="../media/image1.emf"/><Relationship Id="rId4" Type="http://schemas.openxmlformats.org/officeDocument/2006/relationships/oleObject" Target="../embeddings/oleObject31.bin"/><Relationship Id="rId9" Type="http://schemas.openxmlformats.org/officeDocument/2006/relationships/image" Target="../media/image71.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2.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6.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oleObject" Target="../embeddings/oleObject33.bin"/><Relationship Id="rId7" Type="http://schemas.openxmlformats.org/officeDocument/2006/relationships/image" Target="../media/image75.png"/><Relationship Id="rId2" Type="http://schemas.openxmlformats.org/officeDocument/2006/relationships/slideLayout" Target="../slideLayouts/slideLayout6.xml"/><Relationship Id="rId1" Type="http://schemas.openxmlformats.org/officeDocument/2006/relationships/tags" Target="../tags/tag91.xml"/><Relationship Id="rId6" Type="http://schemas.openxmlformats.org/officeDocument/2006/relationships/image" Target="../media/image74.png"/><Relationship Id="rId5" Type="http://schemas.openxmlformats.org/officeDocument/2006/relationships/image" Target="../media/image73.png"/><Relationship Id="rId10" Type="http://schemas.openxmlformats.org/officeDocument/2006/relationships/image" Target="../media/image78.png"/><Relationship Id="rId4" Type="http://schemas.openxmlformats.org/officeDocument/2006/relationships/image" Target="../media/image1.emf"/><Relationship Id="rId9" Type="http://schemas.openxmlformats.org/officeDocument/2006/relationships/image" Target="../media/image77.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80.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10.png"/><Relationship Id="rId4" Type="http://schemas.openxmlformats.org/officeDocument/2006/relationships/image" Target="../media/image4.emf"/></Relationships>
</file>

<file path=ppt/slides/_rels/slide4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6.xml"/><Relationship Id="rId5" Type="http://schemas.openxmlformats.org/officeDocument/2006/relationships/image" Target="../media/image84.png"/><Relationship Id="rId4" Type="http://schemas.openxmlformats.org/officeDocument/2006/relationships/image" Target="../media/image83.png"/></Relationships>
</file>

<file path=ppt/slides/_rels/slide4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6.xml"/><Relationship Id="rId4" Type="http://schemas.openxmlformats.org/officeDocument/2006/relationships/image" Target="../media/image87.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89.png"/><Relationship Id="rId4" Type="http://schemas.openxmlformats.org/officeDocument/2006/relationships/image" Target="../media/image88.PNG"/></Relationships>
</file>

<file path=ppt/slides/_rels/slide43.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image" Target="../media/image90.png"/><Relationship Id="rId1" Type="http://schemas.openxmlformats.org/officeDocument/2006/relationships/slideLayout" Target="../slideLayouts/slideLayout6.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4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6.xml"/><Relationship Id="rId4" Type="http://schemas.openxmlformats.org/officeDocument/2006/relationships/image" Target="../media/image102.png"/></Relationships>
</file>

<file path=ppt/slides/_rels/slide47.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104.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03.png"/><Relationship Id="rId5" Type="http://schemas.openxmlformats.org/officeDocument/2006/relationships/slideLayout" Target="../slideLayouts/slideLayout6.xml"/><Relationship Id="rId4" Type="http://schemas.openxmlformats.org/officeDocument/2006/relationships/tags" Target="../tags/tag99.xml"/></Relationships>
</file>

<file path=ppt/slides/_rels/slide4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6.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4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4.emf"/></Relationships>
</file>

<file path=ppt/slides/_rels/slide5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tags" Target="../tags/tag102.xml"/><Relationship Id="rId7" Type="http://schemas.openxmlformats.org/officeDocument/2006/relationships/image" Target="../media/image115.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3" Type="http://schemas.openxmlformats.org/officeDocument/2006/relationships/slideLayout" Target="../slideLayouts/slideLayout12.xml"/><Relationship Id="rId7" Type="http://schemas.openxmlformats.org/officeDocument/2006/relationships/image" Target="../media/image118.png"/><Relationship Id="rId12" Type="http://schemas.openxmlformats.org/officeDocument/2006/relationships/image" Target="../media/image123.png"/><Relationship Id="rId2" Type="http://schemas.openxmlformats.org/officeDocument/2006/relationships/tags" Target="../tags/tag104.xml"/><Relationship Id="rId16" Type="http://schemas.openxmlformats.org/officeDocument/2006/relationships/image" Target="../media/image127.png"/><Relationship Id="rId1" Type="http://schemas.openxmlformats.org/officeDocument/2006/relationships/tags" Target="../tags/tag103.xml"/><Relationship Id="rId6" Type="http://schemas.openxmlformats.org/officeDocument/2006/relationships/image" Target="../media/image117.png"/><Relationship Id="rId11" Type="http://schemas.openxmlformats.org/officeDocument/2006/relationships/image" Target="../media/image122.png"/><Relationship Id="rId5" Type="http://schemas.openxmlformats.org/officeDocument/2006/relationships/image" Target="../media/image1.emf"/><Relationship Id="rId15" Type="http://schemas.openxmlformats.org/officeDocument/2006/relationships/image" Target="../media/image126.png"/><Relationship Id="rId10" Type="http://schemas.openxmlformats.org/officeDocument/2006/relationships/image" Target="../media/image121.png"/><Relationship Id="rId4" Type="http://schemas.openxmlformats.org/officeDocument/2006/relationships/oleObject" Target="../embeddings/oleObject34.bin"/><Relationship Id="rId9" Type="http://schemas.openxmlformats.org/officeDocument/2006/relationships/image" Target="../media/image120.png"/><Relationship Id="rId14" Type="http://schemas.openxmlformats.org/officeDocument/2006/relationships/image" Target="../media/image125.png"/></Relationships>
</file>

<file path=ppt/slides/_rels/slide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8" Type="http://schemas.openxmlformats.org/officeDocument/2006/relationships/image" Target="../media/image129.png"/><Relationship Id="rId13" Type="http://schemas.openxmlformats.org/officeDocument/2006/relationships/image" Target="../media/image134.png"/><Relationship Id="rId18" Type="http://schemas.openxmlformats.org/officeDocument/2006/relationships/image" Target="../media/image139.png"/><Relationship Id="rId3" Type="http://schemas.openxmlformats.org/officeDocument/2006/relationships/tags" Target="../tags/tag107.xml"/><Relationship Id="rId21" Type="http://schemas.openxmlformats.org/officeDocument/2006/relationships/image" Target="../media/image142.png"/><Relationship Id="rId7" Type="http://schemas.openxmlformats.org/officeDocument/2006/relationships/image" Target="../media/image128.png"/><Relationship Id="rId12" Type="http://schemas.openxmlformats.org/officeDocument/2006/relationships/image" Target="../media/image133.png"/><Relationship Id="rId17" Type="http://schemas.openxmlformats.org/officeDocument/2006/relationships/image" Target="../media/image138.png"/><Relationship Id="rId2" Type="http://schemas.openxmlformats.org/officeDocument/2006/relationships/tags" Target="../tags/tag106.xml"/><Relationship Id="rId16" Type="http://schemas.openxmlformats.org/officeDocument/2006/relationships/image" Target="../media/image137.png"/><Relationship Id="rId20" Type="http://schemas.openxmlformats.org/officeDocument/2006/relationships/image" Target="../media/image141.png"/><Relationship Id="rId1" Type="http://schemas.openxmlformats.org/officeDocument/2006/relationships/tags" Target="../tags/tag105.xml"/><Relationship Id="rId6" Type="http://schemas.openxmlformats.org/officeDocument/2006/relationships/image" Target="../media/image1.emf"/><Relationship Id="rId11" Type="http://schemas.openxmlformats.org/officeDocument/2006/relationships/image" Target="../media/image132.png"/><Relationship Id="rId24" Type="http://schemas.openxmlformats.org/officeDocument/2006/relationships/image" Target="../media/image145.png"/><Relationship Id="rId5" Type="http://schemas.openxmlformats.org/officeDocument/2006/relationships/oleObject" Target="../embeddings/oleObject35.bin"/><Relationship Id="rId15" Type="http://schemas.openxmlformats.org/officeDocument/2006/relationships/image" Target="../media/image136.png"/><Relationship Id="rId23" Type="http://schemas.openxmlformats.org/officeDocument/2006/relationships/image" Target="../media/image144.png"/><Relationship Id="rId10" Type="http://schemas.openxmlformats.org/officeDocument/2006/relationships/image" Target="../media/image131.png"/><Relationship Id="rId19" Type="http://schemas.openxmlformats.org/officeDocument/2006/relationships/image" Target="../media/image140.png"/><Relationship Id="rId4" Type="http://schemas.openxmlformats.org/officeDocument/2006/relationships/slideLayout" Target="../slideLayouts/slideLayout12.xml"/><Relationship Id="rId9" Type="http://schemas.openxmlformats.org/officeDocument/2006/relationships/image" Target="../media/image130.png"/><Relationship Id="rId14" Type="http://schemas.openxmlformats.org/officeDocument/2006/relationships/image" Target="../media/image135.png"/><Relationship Id="rId22" Type="http://schemas.openxmlformats.org/officeDocument/2006/relationships/image" Target="../media/image143.png"/></Relationships>
</file>

<file path=ppt/slides/_rels/slide56.xml.rels><?xml version="1.0" encoding="UTF-8" standalone="yes"?>
<Relationships xmlns="http://schemas.openxmlformats.org/package/2006/relationships"><Relationship Id="rId8" Type="http://schemas.openxmlformats.org/officeDocument/2006/relationships/image" Target="../media/image148.png"/><Relationship Id="rId13" Type="http://schemas.openxmlformats.org/officeDocument/2006/relationships/image" Target="../media/image153.png"/><Relationship Id="rId3" Type="http://schemas.openxmlformats.org/officeDocument/2006/relationships/slideLayout" Target="../slideLayouts/slideLayout12.xml"/><Relationship Id="rId7" Type="http://schemas.openxmlformats.org/officeDocument/2006/relationships/image" Target="../media/image147.png"/><Relationship Id="rId12" Type="http://schemas.openxmlformats.org/officeDocument/2006/relationships/image" Target="../media/image152.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46.png"/><Relationship Id="rId11" Type="http://schemas.openxmlformats.org/officeDocument/2006/relationships/image" Target="../media/image151.png"/><Relationship Id="rId5" Type="http://schemas.openxmlformats.org/officeDocument/2006/relationships/image" Target="../media/image1.emf"/><Relationship Id="rId10" Type="http://schemas.openxmlformats.org/officeDocument/2006/relationships/image" Target="../media/image150.png"/><Relationship Id="rId4" Type="http://schemas.openxmlformats.org/officeDocument/2006/relationships/oleObject" Target="../embeddings/oleObject36.bin"/><Relationship Id="rId9" Type="http://schemas.openxmlformats.org/officeDocument/2006/relationships/image" Target="../media/image149.png"/><Relationship Id="rId14" Type="http://schemas.openxmlformats.org/officeDocument/2006/relationships/image" Target="../media/image154.png"/></Relationships>
</file>

<file path=ppt/slides/_rels/slide57.xml.rels><?xml version="1.0" encoding="UTF-8" standalone="yes"?>
<Relationships xmlns="http://schemas.openxmlformats.org/package/2006/relationships"><Relationship Id="rId8" Type="http://schemas.openxmlformats.org/officeDocument/2006/relationships/image" Target="../media/image158.png"/><Relationship Id="rId13" Type="http://schemas.openxmlformats.org/officeDocument/2006/relationships/image" Target="../media/image163.png"/><Relationship Id="rId3" Type="http://schemas.openxmlformats.org/officeDocument/2006/relationships/slideLayout" Target="../slideLayouts/slideLayout12.xml"/><Relationship Id="rId7" Type="http://schemas.openxmlformats.org/officeDocument/2006/relationships/image" Target="../media/image157.png"/><Relationship Id="rId12" Type="http://schemas.openxmlformats.org/officeDocument/2006/relationships/image" Target="../media/image162.png"/><Relationship Id="rId2" Type="http://schemas.openxmlformats.org/officeDocument/2006/relationships/tags" Target="../tags/tag111.xml"/><Relationship Id="rId16" Type="http://schemas.openxmlformats.org/officeDocument/2006/relationships/image" Target="../media/image166.png"/><Relationship Id="rId1" Type="http://schemas.openxmlformats.org/officeDocument/2006/relationships/tags" Target="../tags/tag110.xml"/><Relationship Id="rId6" Type="http://schemas.openxmlformats.org/officeDocument/2006/relationships/image" Target="../media/image156.png"/><Relationship Id="rId11" Type="http://schemas.openxmlformats.org/officeDocument/2006/relationships/image" Target="../media/image161.png"/><Relationship Id="rId5" Type="http://schemas.openxmlformats.org/officeDocument/2006/relationships/image" Target="../media/image155.emf"/><Relationship Id="rId15" Type="http://schemas.openxmlformats.org/officeDocument/2006/relationships/image" Target="../media/image165.png"/><Relationship Id="rId10" Type="http://schemas.openxmlformats.org/officeDocument/2006/relationships/image" Target="../media/image160.png"/><Relationship Id="rId4" Type="http://schemas.openxmlformats.org/officeDocument/2006/relationships/oleObject" Target="../embeddings/oleObject37.bin"/><Relationship Id="rId9" Type="http://schemas.openxmlformats.org/officeDocument/2006/relationships/image" Target="../media/image159.png"/><Relationship Id="rId14" Type="http://schemas.openxmlformats.org/officeDocument/2006/relationships/image" Target="../media/image164.png"/></Relationships>
</file>

<file path=ppt/slides/_rels/slide58.xml.rels><?xml version="1.0" encoding="UTF-8" standalone="yes"?>
<Relationships xmlns="http://schemas.openxmlformats.org/package/2006/relationships"><Relationship Id="rId8" Type="http://schemas.openxmlformats.org/officeDocument/2006/relationships/image" Target="../media/image169.png"/><Relationship Id="rId13" Type="http://schemas.openxmlformats.org/officeDocument/2006/relationships/image" Target="../media/image174.png"/><Relationship Id="rId3" Type="http://schemas.openxmlformats.org/officeDocument/2006/relationships/slideLayout" Target="../slideLayouts/slideLayout12.xml"/><Relationship Id="rId7" Type="http://schemas.openxmlformats.org/officeDocument/2006/relationships/image" Target="../media/image168.png"/><Relationship Id="rId12" Type="http://schemas.openxmlformats.org/officeDocument/2006/relationships/image" Target="../media/image173.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67.png"/><Relationship Id="rId11" Type="http://schemas.openxmlformats.org/officeDocument/2006/relationships/image" Target="../media/image172.png"/><Relationship Id="rId5" Type="http://schemas.openxmlformats.org/officeDocument/2006/relationships/image" Target="../media/image1.emf"/><Relationship Id="rId10" Type="http://schemas.openxmlformats.org/officeDocument/2006/relationships/image" Target="../media/image171.png"/><Relationship Id="rId4" Type="http://schemas.openxmlformats.org/officeDocument/2006/relationships/oleObject" Target="../embeddings/oleObject38.bin"/><Relationship Id="rId9" Type="http://schemas.openxmlformats.org/officeDocument/2006/relationships/image" Target="../media/image170.png"/><Relationship Id="rId14" Type="http://schemas.openxmlformats.org/officeDocument/2006/relationships/image" Target="../media/image175.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14.png"/><Relationship Id="rId4" Type="http://schemas.openxmlformats.org/officeDocument/2006/relationships/image" Target="../media/image13.emf"/></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D0A4FA-F884-CC6A-4579-D8C4F19D4E08}"/>
            </a:ext>
          </a:extLst>
        </p:cNvPr>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A5AE5A0-7D28-9336-300F-2720E370263C}"/>
              </a:ext>
            </a:extLst>
          </p:cNvPr>
          <p:cNvGraphicFramePr>
            <a:graphicFrameLocks noChangeAspect="1"/>
          </p:cNvGraphicFramePr>
          <p:nvPr>
            <p:custDataLst>
              <p:tags r:id="rId1"/>
            </p:custDataLst>
            <p:extLst>
              <p:ext uri="{D42A27DB-BD31-4B8C-83A1-F6EECF244321}">
                <p14:modId xmlns:p14="http://schemas.microsoft.com/office/powerpoint/2010/main" val="3764379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B32A3A9-D862-ACE7-FB50-A2BDD8E340E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11E4F86D-D3CB-C6F4-118E-C688ABF0F6FE}"/>
              </a:ext>
            </a:extLst>
          </p:cNvPr>
          <p:cNvSpPr>
            <a:spLocks noGrp="1"/>
          </p:cNvSpPr>
          <p:nvPr>
            <p:ph type="ctrTitle"/>
          </p:nvPr>
        </p:nvSpPr>
        <p:spPr>
          <a:xfrm>
            <a:off x="1524000" y="1122363"/>
            <a:ext cx="9144000" cy="2387600"/>
          </a:xfrm>
        </p:spPr>
        <p:txBody>
          <a:bodyPr vert="horz"/>
          <a:lstStyle/>
          <a:p>
            <a:r>
              <a:rPr lang="de-DE" dirty="0"/>
              <a:t>BKT v3.0.2</a:t>
            </a:r>
          </a:p>
        </p:txBody>
      </p:sp>
      <p:pic>
        <p:nvPicPr>
          <p:cNvPr id="7" name="Grafik 6">
            <a:extLst>
              <a:ext uri="{FF2B5EF4-FFF2-40B4-BE49-F238E27FC236}">
                <a16:creationId xmlns:a16="http://schemas.microsoft.com/office/drawing/2014/main" id="{53D4D921-4FA9-EFF3-C5D3-CFA1B9110F87}"/>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42C8FC77-66EE-A6D2-A887-28F0A6644211}"/>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24969418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A1DA7B9-6E29-5394-3206-D3764F90AB8A}"/>
              </a:ext>
            </a:extLst>
          </p:cNvPr>
          <p:cNvGraphicFramePr>
            <a:graphicFrameLocks noChangeAspect="1"/>
          </p:cNvGraphicFramePr>
          <p:nvPr>
            <p:custDataLst>
              <p:tags r:id="rId1"/>
            </p:custDataLst>
            <p:extLst>
              <p:ext uri="{D42A27DB-BD31-4B8C-83A1-F6EECF244321}">
                <p14:modId xmlns:p14="http://schemas.microsoft.com/office/powerpoint/2010/main" val="402675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29536D0A-8D5B-2671-BA03-B4EDCD97EBA9}"/>
              </a:ext>
            </a:extLst>
          </p:cNvPr>
          <p:cNvSpPr>
            <a:spLocks noGrp="1"/>
          </p:cNvSpPr>
          <p:nvPr>
            <p:ph type="title"/>
          </p:nvPr>
        </p:nvSpPr>
        <p:spPr/>
        <p:txBody>
          <a:bodyPr vert="horz"/>
          <a:lstStyle/>
          <a:p>
            <a:r>
              <a:rPr lang="en-US" dirty="0" err="1"/>
              <a:t>Klickbare</a:t>
            </a:r>
            <a:r>
              <a:rPr lang="en-US" dirty="0"/>
              <a:t> PPT Thumbnails</a:t>
            </a:r>
          </a:p>
        </p:txBody>
      </p:sp>
      <p:pic>
        <p:nvPicPr>
          <p:cNvPr id="14" name="Grafik 13">
            <a:hlinkClick r:id="rId6" action="ppaction://hlinksldjump"/>
            <a:extLst>
              <a:ext uri="{FF2B5EF4-FFF2-40B4-BE49-F238E27FC236}">
                <a16:creationId xmlns:a16="http://schemas.microsoft.com/office/drawing/2014/main" id="{A2A86E60-6B05-A2FA-5140-57F1FFD4510F}"/>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838200" y="2213892"/>
            <a:ext cx="3180702" cy="1789145"/>
          </a:xfrm>
          <a:prstGeom prst="rect">
            <a:avLst/>
          </a:prstGeom>
          <a:effectLst>
            <a:outerShdw blurRad="63500" sx="102000" sy="102000" algn="ctr" rotWithShape="0">
              <a:prstClr val="black">
                <a:alpha val="40000"/>
              </a:prstClr>
            </a:outerShdw>
          </a:effectLst>
        </p:spPr>
      </p:pic>
      <p:pic>
        <p:nvPicPr>
          <p:cNvPr id="16" name="Grafik 15">
            <a:extLst>
              <a:ext uri="{FF2B5EF4-FFF2-40B4-BE49-F238E27FC236}">
                <a16:creationId xmlns:a16="http://schemas.microsoft.com/office/drawing/2014/main" id="{D4BE967D-DD76-24F2-72B9-5E30CEB5EBA7}"/>
              </a:ext>
            </a:extLst>
          </p:cNvPr>
          <p:cNvPicPr>
            <a:picLocks noChangeAspect="1"/>
          </p:cNvPicPr>
          <p:nvPr/>
        </p:nvPicPr>
        <p:blipFill>
          <a:blip r:embed="rId8"/>
          <a:stretch>
            <a:fillRect/>
          </a:stretch>
        </p:blipFill>
        <p:spPr>
          <a:xfrm>
            <a:off x="3645588" y="3392608"/>
            <a:ext cx="2200582" cy="1133633"/>
          </a:xfrm>
          <a:prstGeom prst="rect">
            <a:avLst/>
          </a:prstGeom>
        </p:spPr>
      </p:pic>
      <p:sp>
        <p:nvSpPr>
          <p:cNvPr id="17" name="Textfeld 16">
            <a:extLst>
              <a:ext uri="{FF2B5EF4-FFF2-40B4-BE49-F238E27FC236}">
                <a16:creationId xmlns:a16="http://schemas.microsoft.com/office/drawing/2014/main" id="{F534D397-3263-9CCB-F062-C383DCC80212}"/>
              </a:ext>
            </a:extLst>
          </p:cNvPr>
          <p:cNvSpPr txBox="1"/>
          <p:nvPr/>
        </p:nvSpPr>
        <p:spPr>
          <a:xfrm>
            <a:off x="838200" y="4720088"/>
            <a:ext cx="4083614" cy="923330"/>
          </a:xfrm>
          <a:prstGeom prst="rect">
            <a:avLst/>
          </a:prstGeom>
          <a:noFill/>
        </p:spPr>
        <p:txBody>
          <a:bodyPr wrap="square" rtlCol="0">
            <a:spAutoFit/>
          </a:bodyPr>
          <a:lstStyle/>
          <a:p>
            <a:r>
              <a:rPr lang="de-DE" dirty="0"/>
              <a:t>Aktualisierbare Thumbnails sind nun verlinkt und damit anklickbar (im Präsentationsmodus)</a:t>
            </a:r>
          </a:p>
        </p:txBody>
      </p:sp>
      <p:pic>
        <p:nvPicPr>
          <p:cNvPr id="19" name="Grafik 18">
            <a:extLst>
              <a:ext uri="{FF2B5EF4-FFF2-40B4-BE49-F238E27FC236}">
                <a16:creationId xmlns:a16="http://schemas.microsoft.com/office/drawing/2014/main" id="{F8721487-1E93-8D1A-9D5B-2DC36986EAFB}"/>
              </a:ext>
            </a:extLst>
          </p:cNvPr>
          <p:cNvPicPr>
            <a:picLocks noChangeAspect="1"/>
          </p:cNvPicPr>
          <p:nvPr/>
        </p:nvPicPr>
        <p:blipFill>
          <a:blip r:embed="rId9"/>
          <a:stretch>
            <a:fillRect/>
          </a:stretch>
        </p:blipFill>
        <p:spPr>
          <a:xfrm>
            <a:off x="6779510" y="2012696"/>
            <a:ext cx="3505689" cy="2562583"/>
          </a:xfrm>
          <a:prstGeom prst="rect">
            <a:avLst/>
          </a:prstGeom>
        </p:spPr>
      </p:pic>
      <p:sp>
        <p:nvSpPr>
          <p:cNvPr id="20" name="Rechteck 19">
            <a:extLst>
              <a:ext uri="{FF2B5EF4-FFF2-40B4-BE49-F238E27FC236}">
                <a16:creationId xmlns:a16="http://schemas.microsoft.com/office/drawing/2014/main" id="{AA6D66F8-3494-A7F9-3CE0-FFE7B3A76835}"/>
              </a:ext>
            </a:extLst>
          </p:cNvPr>
          <p:cNvSpPr/>
          <p:nvPr/>
        </p:nvSpPr>
        <p:spPr>
          <a:xfrm>
            <a:off x="6900142" y="3959423"/>
            <a:ext cx="3330092" cy="56681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FAAF42C-7B22-53B1-2FFB-3F280C5BC686}"/>
              </a:ext>
            </a:extLst>
          </p:cNvPr>
          <p:cNvSpPr txBox="1"/>
          <p:nvPr/>
        </p:nvSpPr>
        <p:spPr>
          <a:xfrm>
            <a:off x="6779510" y="4720088"/>
            <a:ext cx="4083614" cy="923330"/>
          </a:xfrm>
          <a:prstGeom prst="rect">
            <a:avLst/>
          </a:prstGeom>
          <a:noFill/>
        </p:spPr>
        <p:txBody>
          <a:bodyPr wrap="square" rtlCol="0">
            <a:spAutoFit/>
          </a:bodyPr>
          <a:lstStyle/>
          <a:p>
            <a:r>
              <a:rPr lang="de-DE" dirty="0"/>
              <a:t>Es gibt nun eine Funktion, um alle Thumbnails durch Standardbilder zu ersetzen</a:t>
            </a:r>
          </a:p>
        </p:txBody>
      </p:sp>
    </p:spTree>
    <p:extLst>
      <p:ext uri="{BB962C8B-B14F-4D97-AF65-F5344CB8AC3E}">
        <p14:creationId xmlns:p14="http://schemas.microsoft.com/office/powerpoint/2010/main" val="3883701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A1DA7B9-6E29-5394-3206-D3764F90AB8A}"/>
              </a:ext>
            </a:extLst>
          </p:cNvPr>
          <p:cNvGraphicFramePr>
            <a:graphicFrameLocks noChangeAspect="1"/>
          </p:cNvGraphicFramePr>
          <p:nvPr>
            <p:custDataLst>
              <p:tags r:id="rId1"/>
            </p:custDataLst>
            <p:extLst>
              <p:ext uri="{D42A27DB-BD31-4B8C-83A1-F6EECF244321}">
                <p14:modId xmlns:p14="http://schemas.microsoft.com/office/powerpoint/2010/main" val="174601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592" imgH="595" progId="TCLayout.ActiveDocument.1">
                  <p:embed/>
                </p:oleObj>
              </mc:Choice>
              <mc:Fallback>
                <p:oleObj name="think-cell Folie" r:id="rId9" imgW="592" imgH="595" progId="TCLayout.ActiveDocument.1">
                  <p:embed/>
                  <p:pic>
                    <p:nvPicPr>
                      <p:cNvPr id="5" name="think-cell data - do not delete" hidden="1">
                        <a:extLst>
                          <a:ext uri="{FF2B5EF4-FFF2-40B4-BE49-F238E27FC236}">
                            <a16:creationId xmlns:a16="http://schemas.microsoft.com/office/drawing/2014/main" id="{CA1DA7B9-6E29-5394-3206-D3764F90AB8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29536D0A-8D5B-2671-BA03-B4EDCD97EBA9}"/>
              </a:ext>
            </a:extLst>
          </p:cNvPr>
          <p:cNvSpPr>
            <a:spLocks noGrp="1"/>
          </p:cNvSpPr>
          <p:nvPr>
            <p:ph type="title"/>
          </p:nvPr>
        </p:nvSpPr>
        <p:spPr/>
        <p:txBody>
          <a:bodyPr vert="horz"/>
          <a:lstStyle/>
          <a:p>
            <a:r>
              <a:rPr lang="en-US" dirty="0" err="1"/>
              <a:t>Stylische</a:t>
            </a:r>
            <a:r>
              <a:rPr lang="en-US" dirty="0"/>
              <a:t> Harvey Moons</a:t>
            </a:r>
          </a:p>
        </p:txBody>
      </p:sp>
      <p:grpSp>
        <p:nvGrpSpPr>
          <p:cNvPr id="9" name="[BKT] Harvey Ball 9">
            <a:extLst>
              <a:ext uri="{FF2B5EF4-FFF2-40B4-BE49-F238E27FC236}">
                <a16:creationId xmlns:a16="http://schemas.microsoft.com/office/drawing/2014/main" id="{1B707247-7DAA-CAE9-DD46-460CAC12781D}"/>
              </a:ext>
            </a:extLst>
          </p:cNvPr>
          <p:cNvGrpSpPr>
            <a:grpSpLocks noChangeAspect="1"/>
          </p:cNvGrpSpPr>
          <p:nvPr>
            <p:custDataLst>
              <p:tags r:id="rId2"/>
            </p:custDataLst>
          </p:nvPr>
        </p:nvGrpSpPr>
        <p:grpSpPr>
          <a:xfrm>
            <a:off x="838200" y="2153715"/>
            <a:ext cx="381000" cy="381000"/>
            <a:chOff x="1270000" y="1270000"/>
            <a:chExt cx="381000" cy="381000"/>
          </a:xfrm>
        </p:grpSpPr>
        <p:sp>
          <p:nvSpPr>
            <p:cNvPr id="7" name="Ellipse 6">
              <a:extLst>
                <a:ext uri="{FF2B5EF4-FFF2-40B4-BE49-F238E27FC236}">
                  <a16:creationId xmlns:a16="http://schemas.microsoft.com/office/drawing/2014/main" id="{6264AC4A-C3C6-8675-734B-273D3A2E36DC}"/>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ilkreis 7">
              <a:extLst>
                <a:ext uri="{FF2B5EF4-FFF2-40B4-BE49-F238E27FC236}">
                  <a16:creationId xmlns:a16="http://schemas.microsoft.com/office/drawing/2014/main" id="{E1F9C145-F5DA-7720-60FF-A735A4A7E010}"/>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1" name="Grafik 10">
            <a:extLst>
              <a:ext uri="{FF2B5EF4-FFF2-40B4-BE49-F238E27FC236}">
                <a16:creationId xmlns:a16="http://schemas.microsoft.com/office/drawing/2014/main" id="{8711A36E-BF5C-A499-FFA2-993FDADE70F5}"/>
              </a:ext>
            </a:extLst>
          </p:cNvPr>
          <p:cNvPicPr>
            <a:picLocks noChangeAspect="1"/>
          </p:cNvPicPr>
          <p:nvPr/>
        </p:nvPicPr>
        <p:blipFill>
          <a:blip r:embed="rId11"/>
          <a:stretch>
            <a:fillRect/>
          </a:stretch>
        </p:blipFill>
        <p:spPr>
          <a:xfrm>
            <a:off x="3459569" y="2444994"/>
            <a:ext cx="6230219" cy="924054"/>
          </a:xfrm>
          <a:prstGeom prst="rect">
            <a:avLst/>
          </a:prstGeom>
          <a:effectLst>
            <a:outerShdw blurRad="63500" sx="102000" sy="102000" algn="ctr" rotWithShape="0">
              <a:prstClr val="black">
                <a:alpha val="40000"/>
              </a:prstClr>
            </a:outerShdw>
          </a:effectLst>
        </p:spPr>
      </p:pic>
      <p:grpSp>
        <p:nvGrpSpPr>
          <p:cNvPr id="12" name="[BKT] Harvey Ball 9">
            <a:extLst>
              <a:ext uri="{FF2B5EF4-FFF2-40B4-BE49-F238E27FC236}">
                <a16:creationId xmlns:a16="http://schemas.microsoft.com/office/drawing/2014/main" id="{BC86DC47-8320-87D3-7900-3F8B1B3E4AB1}"/>
              </a:ext>
            </a:extLst>
          </p:cNvPr>
          <p:cNvGrpSpPr>
            <a:grpSpLocks noChangeAspect="1"/>
          </p:cNvGrpSpPr>
          <p:nvPr>
            <p:custDataLst>
              <p:tags r:id="rId3"/>
            </p:custDataLst>
          </p:nvPr>
        </p:nvGrpSpPr>
        <p:grpSpPr>
          <a:xfrm>
            <a:off x="1703675" y="2513902"/>
            <a:ext cx="381000" cy="381000"/>
            <a:chOff x="1270000" y="1270000"/>
            <a:chExt cx="381000" cy="381000"/>
          </a:xfrm>
        </p:grpSpPr>
        <p:sp>
          <p:nvSpPr>
            <p:cNvPr id="13" name="Ellipse 12">
              <a:extLst>
                <a:ext uri="{FF2B5EF4-FFF2-40B4-BE49-F238E27FC236}">
                  <a16:creationId xmlns:a16="http://schemas.microsoft.com/office/drawing/2014/main" id="{628101FD-E468-CBD4-2CFE-C9C4F2507F22}"/>
                </a:ext>
              </a:extLst>
            </p:cNvPr>
            <p:cNvSpPr>
              <a:spLocks noChangeAspect="1"/>
            </p:cNvSpPr>
            <p:nvPr/>
          </p:nvSpPr>
          <p:spPr>
            <a:xfrm>
              <a:off x="1270000" y="1270000"/>
              <a:ext cx="381000" cy="381000"/>
            </a:xfrm>
            <a:prstGeom prst="ellipse">
              <a:avLst/>
            </a:prstGeom>
            <a:solidFill>
              <a:schemeClr val="bg1"/>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ilkreis 13">
              <a:extLst>
                <a:ext uri="{FF2B5EF4-FFF2-40B4-BE49-F238E27FC236}">
                  <a16:creationId xmlns:a16="http://schemas.microsoft.com/office/drawing/2014/main" id="{2FFC4EFC-E6A9-9AEC-1BE0-38B3E69F475F}"/>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5" name="[BKT] Harvey Ball 9">
            <a:extLst>
              <a:ext uri="{FF2B5EF4-FFF2-40B4-BE49-F238E27FC236}">
                <a16:creationId xmlns:a16="http://schemas.microsoft.com/office/drawing/2014/main" id="{08A877F1-25CC-5DE1-27E5-98CF103B399E}"/>
              </a:ext>
            </a:extLst>
          </p:cNvPr>
          <p:cNvGrpSpPr>
            <a:grpSpLocks noChangeAspect="1"/>
          </p:cNvGrpSpPr>
          <p:nvPr>
            <p:custDataLst>
              <p:tags r:id="rId4"/>
            </p:custDataLst>
          </p:nvPr>
        </p:nvGrpSpPr>
        <p:grpSpPr>
          <a:xfrm>
            <a:off x="791662" y="3219450"/>
            <a:ext cx="419100" cy="419100"/>
            <a:chOff x="1250950" y="1250950"/>
            <a:chExt cx="419100" cy="419100"/>
          </a:xfrm>
        </p:grpSpPr>
        <p:sp>
          <p:nvSpPr>
            <p:cNvPr id="16" name="Ellipse 15">
              <a:extLst>
                <a:ext uri="{FF2B5EF4-FFF2-40B4-BE49-F238E27FC236}">
                  <a16:creationId xmlns:a16="http://schemas.microsoft.com/office/drawing/2014/main" id="{EAC6C32E-8839-0863-973A-174D6A9C816A}"/>
                </a:ext>
              </a:extLst>
            </p:cNvPr>
            <p:cNvSpPr>
              <a:spLocks noChangeAspect="1"/>
            </p:cNvSpPr>
            <p:nvPr/>
          </p:nvSpPr>
          <p:spPr>
            <a:xfrm>
              <a:off x="1270000" y="1270000"/>
              <a:ext cx="381000" cy="381000"/>
            </a:xfrm>
            <a:prstGeom prst="ellipse">
              <a:avLst/>
            </a:prstGeom>
            <a:solidFill>
              <a:schemeClr val="bg1"/>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ilkreis 16">
              <a:extLst>
                <a:ext uri="{FF2B5EF4-FFF2-40B4-BE49-F238E27FC236}">
                  <a16:creationId xmlns:a16="http://schemas.microsoft.com/office/drawing/2014/main" id="{9636FABD-8BA1-01A7-E5F1-8368A2DD8CC4}"/>
                </a:ext>
              </a:extLst>
            </p:cNvPr>
            <p:cNvSpPr>
              <a:spLocks noChangeAspect="1"/>
            </p:cNvSpPr>
            <p:nvPr/>
          </p:nvSpPr>
          <p:spPr>
            <a:xfrm>
              <a:off x="1250950" y="1250950"/>
              <a:ext cx="419100" cy="419100"/>
            </a:xfrm>
            <a:prstGeom prst="pie">
              <a:avLst>
                <a:gd name="adj1" fmla="val 16200000"/>
                <a:gd name="adj2" fmla="val 0"/>
              </a:avLst>
            </a:prstGeom>
            <a:solidFill>
              <a:schemeClr val="tx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8" name="[BKT] Harvey Ball 9">
            <a:extLst>
              <a:ext uri="{FF2B5EF4-FFF2-40B4-BE49-F238E27FC236}">
                <a16:creationId xmlns:a16="http://schemas.microsoft.com/office/drawing/2014/main" id="{994074EB-492C-483A-28A8-B869497BCF97}"/>
              </a:ext>
            </a:extLst>
          </p:cNvPr>
          <p:cNvGrpSpPr>
            <a:grpSpLocks noChangeAspect="1"/>
          </p:cNvGrpSpPr>
          <p:nvPr>
            <p:custDataLst>
              <p:tags r:id="rId5"/>
            </p:custDataLst>
          </p:nvPr>
        </p:nvGrpSpPr>
        <p:grpSpPr>
          <a:xfrm>
            <a:off x="2046575" y="3772599"/>
            <a:ext cx="381000" cy="381000"/>
            <a:chOff x="1270000" y="1270000"/>
            <a:chExt cx="381000" cy="381000"/>
          </a:xfrm>
        </p:grpSpPr>
        <p:sp>
          <p:nvSpPr>
            <p:cNvPr id="19" name="Ellipse 18">
              <a:extLst>
                <a:ext uri="{FF2B5EF4-FFF2-40B4-BE49-F238E27FC236}">
                  <a16:creationId xmlns:a16="http://schemas.microsoft.com/office/drawing/2014/main" id="{A1DD7BE7-8560-65BA-6BDC-C9DF0168A899}"/>
                </a:ext>
              </a:extLst>
            </p:cNvPr>
            <p:cNvSpPr>
              <a:spLocks noChangeAspect="1"/>
            </p:cNvSpPr>
            <p:nvPr/>
          </p:nvSpPr>
          <p:spPr>
            <a:xfrm>
              <a:off x="1270000" y="1270000"/>
              <a:ext cx="381000" cy="381000"/>
            </a:xfrm>
            <a:prstGeom prst="ellipse">
              <a:avLst/>
            </a:prstGeom>
            <a:solidFill>
              <a:schemeClr val="bg1">
                <a:lumMod val="95000"/>
              </a:schemeClr>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ilkreis 19">
              <a:extLst>
                <a:ext uri="{FF2B5EF4-FFF2-40B4-BE49-F238E27FC236}">
                  <a16:creationId xmlns:a16="http://schemas.microsoft.com/office/drawing/2014/main" id="{C2398792-E4F2-F75C-D41E-9488305A3898}"/>
                </a:ext>
              </a:extLst>
            </p:cNvPr>
            <p:cNvSpPr>
              <a:spLocks noChangeAspect="1"/>
            </p:cNvSpPr>
            <p:nvPr/>
          </p:nvSpPr>
          <p:spPr>
            <a:xfrm>
              <a:off x="1270000" y="1270000"/>
              <a:ext cx="381000" cy="381000"/>
            </a:xfrm>
            <a:prstGeom prst="pie">
              <a:avLst>
                <a:gd name="adj1" fmla="val 16200000"/>
                <a:gd name="adj2" fmla="val 0"/>
              </a:avLst>
            </a:prstGeom>
            <a:solidFill>
              <a:schemeClr val="accent1">
                <a:lumMod val="10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1" name="[BKT] Harvey Ball 9">
            <a:extLst>
              <a:ext uri="{FF2B5EF4-FFF2-40B4-BE49-F238E27FC236}">
                <a16:creationId xmlns:a16="http://schemas.microsoft.com/office/drawing/2014/main" id="{A345D41E-8D9E-69F8-78EF-C5A8CE7FDC9B}"/>
              </a:ext>
            </a:extLst>
          </p:cNvPr>
          <p:cNvGrpSpPr>
            <a:grpSpLocks noChangeAspect="1"/>
          </p:cNvGrpSpPr>
          <p:nvPr>
            <p:custDataLst>
              <p:tags r:id="rId6"/>
            </p:custDataLst>
          </p:nvPr>
        </p:nvGrpSpPr>
        <p:grpSpPr>
          <a:xfrm>
            <a:off x="791662" y="4284278"/>
            <a:ext cx="381000" cy="381000"/>
            <a:chOff x="1270000" y="1270000"/>
            <a:chExt cx="381000" cy="381000"/>
          </a:xfrm>
        </p:grpSpPr>
        <p:sp>
          <p:nvSpPr>
            <p:cNvPr id="22" name="Ellipse 21">
              <a:extLst>
                <a:ext uri="{FF2B5EF4-FFF2-40B4-BE49-F238E27FC236}">
                  <a16:creationId xmlns:a16="http://schemas.microsoft.com/office/drawing/2014/main" id="{01B4A4A0-AD6D-0AB2-376F-2BD278C97FFC}"/>
                </a:ext>
              </a:extLst>
            </p:cNvPr>
            <p:cNvSpPr>
              <a:spLocks noChangeAspect="1"/>
            </p:cNvSpPr>
            <p:nvPr/>
          </p:nvSpPr>
          <p:spPr>
            <a:xfrm>
              <a:off x="1270000" y="1270000"/>
              <a:ext cx="381000" cy="381000"/>
            </a:xfrm>
            <a:prstGeom prst="ellipse">
              <a:avLst/>
            </a:prstGeom>
            <a:solidFill>
              <a:schemeClr val="bg1">
                <a:lumMod val="95000"/>
              </a:schemeClr>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ilkreis 22">
              <a:extLst>
                <a:ext uri="{FF2B5EF4-FFF2-40B4-BE49-F238E27FC236}">
                  <a16:creationId xmlns:a16="http://schemas.microsoft.com/office/drawing/2014/main" id="{550A4F83-ACC3-59EC-9757-03DF748D4F0E}"/>
                </a:ext>
              </a:extLst>
            </p:cNvPr>
            <p:cNvSpPr>
              <a:spLocks noChangeAspect="1"/>
            </p:cNvSpPr>
            <p:nvPr/>
          </p:nvSpPr>
          <p:spPr>
            <a:xfrm>
              <a:off x="1308100" y="1308100"/>
              <a:ext cx="304800" cy="304800"/>
            </a:xfrm>
            <a:prstGeom prst="pie">
              <a:avLst>
                <a:gd name="adj1" fmla="val 16200000"/>
                <a:gd name="adj2" fmla="val 0"/>
              </a:avLst>
            </a:prstGeom>
            <a:solidFill>
              <a:schemeClr val="accent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rgbClr val="FF0000"/>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4" name="[BKT] Harvey Ball 9">
            <a:extLst>
              <a:ext uri="{FF2B5EF4-FFF2-40B4-BE49-F238E27FC236}">
                <a16:creationId xmlns:a16="http://schemas.microsoft.com/office/drawing/2014/main" id="{58C9312A-0B52-2938-2481-F7EE320FE81C}"/>
              </a:ext>
            </a:extLst>
          </p:cNvPr>
          <p:cNvGrpSpPr>
            <a:grpSpLocks noChangeAspect="1"/>
          </p:cNvGrpSpPr>
          <p:nvPr>
            <p:custDataLst>
              <p:tags r:id="rId7"/>
            </p:custDataLst>
          </p:nvPr>
        </p:nvGrpSpPr>
        <p:grpSpPr>
          <a:xfrm>
            <a:off x="1894175" y="4767263"/>
            <a:ext cx="419100" cy="419100"/>
            <a:chOff x="1250950" y="1250950"/>
            <a:chExt cx="419100" cy="419100"/>
          </a:xfrm>
        </p:grpSpPr>
        <p:sp>
          <p:nvSpPr>
            <p:cNvPr id="25" name="Ellipse 24">
              <a:extLst>
                <a:ext uri="{FF2B5EF4-FFF2-40B4-BE49-F238E27FC236}">
                  <a16:creationId xmlns:a16="http://schemas.microsoft.com/office/drawing/2014/main" id="{6A68373A-F7D3-1030-B21C-29CB667C5124}"/>
                </a:ext>
              </a:extLst>
            </p:cNvPr>
            <p:cNvSpPr>
              <a:spLocks noChangeAspect="1"/>
            </p:cNvSpPr>
            <p:nvPr/>
          </p:nvSpPr>
          <p:spPr>
            <a:xfrm>
              <a:off x="1270000" y="1270000"/>
              <a:ext cx="381000" cy="381000"/>
            </a:xfrm>
            <a:prstGeom prst="ellipse">
              <a:avLst/>
            </a:prstGeom>
            <a:solidFill>
              <a:schemeClr val="bg1">
                <a:lumMod val="95000"/>
              </a:schemeClr>
            </a:solid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ilkreis 25">
              <a:extLst>
                <a:ext uri="{FF2B5EF4-FFF2-40B4-BE49-F238E27FC236}">
                  <a16:creationId xmlns:a16="http://schemas.microsoft.com/office/drawing/2014/main" id="{28978AB0-29EB-EE4D-0E7E-C7C48BDF6B26}"/>
                </a:ext>
              </a:extLst>
            </p:cNvPr>
            <p:cNvSpPr>
              <a:spLocks noChangeAspect="1"/>
            </p:cNvSpPr>
            <p:nvPr/>
          </p:nvSpPr>
          <p:spPr>
            <a:xfrm>
              <a:off x="1250950" y="1250950"/>
              <a:ext cx="419100" cy="419100"/>
            </a:xfrm>
            <a:prstGeom prst="pie">
              <a:avLst>
                <a:gd name="adj1" fmla="val 16200000"/>
                <a:gd name="adj2" fmla="val 0"/>
              </a:avLst>
            </a:prstGeom>
            <a:solidFill>
              <a:schemeClr val="accent1">
                <a:lumMod val="100000"/>
              </a:schemeClr>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7" name="Rechteck 26">
            <a:extLst>
              <a:ext uri="{FF2B5EF4-FFF2-40B4-BE49-F238E27FC236}">
                <a16:creationId xmlns:a16="http://schemas.microsoft.com/office/drawing/2014/main" id="{C70E6397-76AA-D923-DED1-80D27ED8E277}"/>
              </a:ext>
            </a:extLst>
          </p:cNvPr>
          <p:cNvSpPr/>
          <p:nvPr/>
        </p:nvSpPr>
        <p:spPr>
          <a:xfrm>
            <a:off x="6585243" y="2485531"/>
            <a:ext cx="625629" cy="637816"/>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Rechteck 27">
            <a:extLst>
              <a:ext uri="{FF2B5EF4-FFF2-40B4-BE49-F238E27FC236}">
                <a16:creationId xmlns:a16="http://schemas.microsoft.com/office/drawing/2014/main" id="{299C7312-893E-BA0D-99A5-977E4B439EE6}"/>
              </a:ext>
            </a:extLst>
          </p:cNvPr>
          <p:cNvSpPr/>
          <p:nvPr/>
        </p:nvSpPr>
        <p:spPr>
          <a:xfrm>
            <a:off x="8291305" y="2485531"/>
            <a:ext cx="625629" cy="637816"/>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Textfeld 28">
            <a:extLst>
              <a:ext uri="{FF2B5EF4-FFF2-40B4-BE49-F238E27FC236}">
                <a16:creationId xmlns:a16="http://schemas.microsoft.com/office/drawing/2014/main" id="{A886CA95-8D22-7580-FCEE-408C0D8C0FC7}"/>
              </a:ext>
            </a:extLst>
          </p:cNvPr>
          <p:cNvSpPr txBox="1"/>
          <p:nvPr/>
        </p:nvSpPr>
        <p:spPr>
          <a:xfrm>
            <a:off x="3913436" y="4007574"/>
            <a:ext cx="5064733" cy="923330"/>
          </a:xfrm>
          <a:prstGeom prst="rect">
            <a:avLst/>
          </a:prstGeom>
          <a:noFill/>
        </p:spPr>
        <p:txBody>
          <a:bodyPr wrap="square" rtlCol="0">
            <a:spAutoFit/>
          </a:bodyPr>
          <a:lstStyle/>
          <a:p>
            <a:r>
              <a:rPr lang="de-DE" dirty="0"/>
              <a:t>Harvey-Moons noch flexibler einstellen dank dem Style „Diagramm“ und einem Farbwähler für die Linienfarbe</a:t>
            </a:r>
          </a:p>
        </p:txBody>
      </p:sp>
    </p:spTree>
    <p:extLst>
      <p:ext uri="{BB962C8B-B14F-4D97-AF65-F5344CB8AC3E}">
        <p14:creationId xmlns:p14="http://schemas.microsoft.com/office/powerpoint/2010/main" val="2274392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09166C7-288D-5F59-D672-5BA430312001}"/>
              </a:ext>
            </a:extLst>
          </p:cNvPr>
          <p:cNvGraphicFramePr>
            <a:graphicFrameLocks noChangeAspect="1"/>
          </p:cNvGraphicFramePr>
          <p:nvPr>
            <p:custDataLst>
              <p:tags r:id="rId1"/>
            </p:custDataLst>
            <p:extLst>
              <p:ext uri="{D42A27DB-BD31-4B8C-83A1-F6EECF244321}">
                <p14:modId xmlns:p14="http://schemas.microsoft.com/office/powerpoint/2010/main" val="2251451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0733729-9C00-106E-C725-2C0515D64240}"/>
              </a:ext>
            </a:extLst>
          </p:cNvPr>
          <p:cNvSpPr>
            <a:spLocks noGrp="1"/>
          </p:cNvSpPr>
          <p:nvPr>
            <p:ph type="title"/>
          </p:nvPr>
        </p:nvSpPr>
        <p:spPr/>
        <p:txBody>
          <a:bodyPr vert="horz"/>
          <a:lstStyle/>
          <a:p>
            <a:r>
              <a:rPr lang="en-US" dirty="0" err="1"/>
              <a:t>Kleinere</a:t>
            </a:r>
            <a:r>
              <a:rPr lang="en-US" dirty="0"/>
              <a:t> </a:t>
            </a:r>
            <a:r>
              <a:rPr lang="en-US" dirty="0" err="1"/>
              <a:t>Neuigkeiten</a:t>
            </a:r>
            <a:endParaRPr lang="en-US" dirty="0"/>
          </a:p>
        </p:txBody>
      </p:sp>
      <p:pic>
        <p:nvPicPr>
          <p:cNvPr id="8" name="Grafik 7">
            <a:extLst>
              <a:ext uri="{FF2B5EF4-FFF2-40B4-BE49-F238E27FC236}">
                <a16:creationId xmlns:a16="http://schemas.microsoft.com/office/drawing/2014/main" id="{13B785F0-7F9D-21DC-2375-60D3B4A873BC}"/>
              </a:ext>
            </a:extLst>
          </p:cNvPr>
          <p:cNvPicPr>
            <a:picLocks noChangeAspect="1"/>
          </p:cNvPicPr>
          <p:nvPr/>
        </p:nvPicPr>
        <p:blipFill>
          <a:blip r:embed="rId5"/>
          <a:stretch>
            <a:fillRect/>
          </a:stretch>
        </p:blipFill>
        <p:spPr>
          <a:xfrm>
            <a:off x="838200" y="2264424"/>
            <a:ext cx="2753109" cy="1371791"/>
          </a:xfrm>
          <a:prstGeom prst="rect">
            <a:avLst/>
          </a:prstGeom>
        </p:spPr>
      </p:pic>
      <p:sp>
        <p:nvSpPr>
          <p:cNvPr id="9" name="Textfeld 8">
            <a:extLst>
              <a:ext uri="{FF2B5EF4-FFF2-40B4-BE49-F238E27FC236}">
                <a16:creationId xmlns:a16="http://schemas.microsoft.com/office/drawing/2014/main" id="{AAA96440-1C62-1841-E1DD-C904132A7140}"/>
              </a:ext>
            </a:extLst>
          </p:cNvPr>
          <p:cNvSpPr txBox="1"/>
          <p:nvPr/>
        </p:nvSpPr>
        <p:spPr>
          <a:xfrm>
            <a:off x="838200" y="3811193"/>
            <a:ext cx="3107192" cy="646331"/>
          </a:xfrm>
          <a:prstGeom prst="rect">
            <a:avLst/>
          </a:prstGeom>
          <a:noFill/>
        </p:spPr>
        <p:txBody>
          <a:bodyPr wrap="square" rtlCol="0">
            <a:spAutoFit/>
          </a:bodyPr>
          <a:lstStyle/>
          <a:p>
            <a:r>
              <a:rPr lang="de-DE" dirty="0"/>
              <a:t>Support für Icon Font „Segoe </a:t>
            </a:r>
            <a:r>
              <a:rPr lang="de-DE" dirty="0" err="1"/>
              <a:t>Fluent</a:t>
            </a:r>
            <a:r>
              <a:rPr lang="de-DE" dirty="0"/>
              <a:t> Icons“</a:t>
            </a:r>
          </a:p>
        </p:txBody>
      </p:sp>
      <p:pic>
        <p:nvPicPr>
          <p:cNvPr id="11" name="Grafik 10">
            <a:extLst>
              <a:ext uri="{FF2B5EF4-FFF2-40B4-BE49-F238E27FC236}">
                <a16:creationId xmlns:a16="http://schemas.microsoft.com/office/drawing/2014/main" id="{D88294E7-C15A-A78A-ACBB-DB07D37A9D7C}"/>
              </a:ext>
            </a:extLst>
          </p:cNvPr>
          <p:cNvPicPr>
            <a:picLocks noChangeAspect="1"/>
          </p:cNvPicPr>
          <p:nvPr/>
        </p:nvPicPr>
        <p:blipFill>
          <a:blip r:embed="rId6"/>
          <a:stretch>
            <a:fillRect/>
          </a:stretch>
        </p:blipFill>
        <p:spPr>
          <a:xfrm>
            <a:off x="4886900" y="2332855"/>
            <a:ext cx="1829055" cy="952633"/>
          </a:xfrm>
          <a:prstGeom prst="rect">
            <a:avLst/>
          </a:prstGeom>
        </p:spPr>
      </p:pic>
      <p:sp>
        <p:nvSpPr>
          <p:cNvPr id="12" name="Rechteck 11">
            <a:extLst>
              <a:ext uri="{FF2B5EF4-FFF2-40B4-BE49-F238E27FC236}">
                <a16:creationId xmlns:a16="http://schemas.microsoft.com/office/drawing/2014/main" id="{6E6FAB40-426F-634B-FF0C-0EAE1DEBA677}"/>
              </a:ext>
            </a:extLst>
          </p:cNvPr>
          <p:cNvSpPr/>
          <p:nvPr/>
        </p:nvSpPr>
        <p:spPr>
          <a:xfrm>
            <a:off x="4995783" y="2647672"/>
            <a:ext cx="644039" cy="43919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Textfeld 12">
            <a:extLst>
              <a:ext uri="{FF2B5EF4-FFF2-40B4-BE49-F238E27FC236}">
                <a16:creationId xmlns:a16="http://schemas.microsoft.com/office/drawing/2014/main" id="{9E88E8D3-04FD-B5B9-3009-66506D97E81B}"/>
              </a:ext>
            </a:extLst>
          </p:cNvPr>
          <p:cNvSpPr txBox="1"/>
          <p:nvPr/>
        </p:nvSpPr>
        <p:spPr>
          <a:xfrm>
            <a:off x="4794974" y="3401684"/>
            <a:ext cx="2446583" cy="923330"/>
          </a:xfrm>
          <a:prstGeom prst="rect">
            <a:avLst/>
          </a:prstGeom>
          <a:noFill/>
        </p:spPr>
        <p:txBody>
          <a:bodyPr wrap="square" rtlCol="0">
            <a:spAutoFit/>
          </a:bodyPr>
          <a:lstStyle/>
          <a:p>
            <a:r>
              <a:rPr lang="de-DE" dirty="0"/>
              <a:t>Funktionen gehen nur für alle selektierten Folien</a:t>
            </a:r>
          </a:p>
        </p:txBody>
      </p:sp>
    </p:spTree>
    <p:extLst>
      <p:ext uri="{BB962C8B-B14F-4D97-AF65-F5344CB8AC3E}">
        <p14:creationId xmlns:p14="http://schemas.microsoft.com/office/powerpoint/2010/main" val="30026345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Umlaute im Installationspfad möglich</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Icons vertauscht in „Einfaches Anordnen“</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Mehrere Shapes zur Shape-Library hinzufügen ging nicht</a:t>
            </a:r>
          </a:p>
        </p:txBody>
      </p:sp>
      <p:pic>
        <p:nvPicPr>
          <p:cNvPr id="10" name="Grafik 9">
            <a:extLst>
              <a:ext uri="{FF2B5EF4-FFF2-40B4-BE49-F238E27FC236}">
                <a16:creationId xmlns:a16="http://schemas.microsoft.com/office/drawing/2014/main" id="{71951A00-D222-F18A-21F0-A826ED5CFE62}"/>
              </a:ext>
            </a:extLst>
          </p:cNvPr>
          <p:cNvPicPr>
            <a:picLocks noChangeAspect="1"/>
          </p:cNvPicPr>
          <p:nvPr/>
        </p:nvPicPr>
        <p:blipFill>
          <a:blip r:embed="rId6"/>
          <a:stretch>
            <a:fillRect/>
          </a:stretch>
        </p:blipFill>
        <p:spPr>
          <a:xfrm>
            <a:off x="6235104" y="2835057"/>
            <a:ext cx="856025" cy="471294"/>
          </a:xfrm>
          <a:prstGeom prst="rect">
            <a:avLst/>
          </a:prstGeom>
        </p:spPr>
      </p:pic>
      <p:sp>
        <p:nvSpPr>
          <p:cNvPr id="13" name="Pfeil: nach links und oben 12">
            <a:extLst>
              <a:ext uri="{FF2B5EF4-FFF2-40B4-BE49-F238E27FC236}">
                <a16:creationId xmlns:a16="http://schemas.microsoft.com/office/drawing/2014/main" id="{D981511A-BC54-1DF4-5267-35390C5DB7DA}"/>
              </a:ext>
            </a:extLst>
          </p:cNvPr>
          <p:cNvSpPr>
            <a:spLocks noChangeAspect="1"/>
          </p:cNvSpPr>
          <p:nvPr/>
        </p:nvSpPr>
        <p:spPr>
          <a:xfrm rot="13492511">
            <a:off x="6850480" y="2752054"/>
            <a:ext cx="144000" cy="144000"/>
          </a:xfrm>
          <a:prstGeom prst="lef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feld 5">
            <a:extLst>
              <a:ext uri="{FF2B5EF4-FFF2-40B4-BE49-F238E27FC236}">
                <a16:creationId xmlns:a16="http://schemas.microsoft.com/office/drawing/2014/main" id="{164BECB3-FD2E-9CB4-90D5-351B86C6D439}"/>
              </a:ext>
            </a:extLst>
          </p:cNvPr>
          <p:cNvSpPr txBox="1"/>
          <p:nvPr/>
        </p:nvSpPr>
        <p:spPr>
          <a:xfrm>
            <a:off x="838200" y="4084369"/>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a:t>Animationen werden nun bei den Gruppierungs-Funktionen und </a:t>
            </a:r>
            <a:r>
              <a:rPr lang="de-DE" dirty="0" err="1"/>
              <a:t>Wechselshapes</a:t>
            </a:r>
            <a:r>
              <a:rPr lang="de-DE" dirty="0"/>
              <a:t> korrekt übertragen</a:t>
            </a:r>
          </a:p>
        </p:txBody>
      </p:sp>
    </p:spTree>
    <p:extLst>
      <p:ext uri="{BB962C8B-B14F-4D97-AF65-F5344CB8AC3E}">
        <p14:creationId xmlns:p14="http://schemas.microsoft.com/office/powerpoint/2010/main" val="9362842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2.7.4</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32861113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3" name="Objekt 122" hidden="1">
            <a:extLst>
              <a:ext uri="{FF2B5EF4-FFF2-40B4-BE49-F238E27FC236}">
                <a16:creationId xmlns:a16="http://schemas.microsoft.com/office/drawing/2014/main" id="{6090FAB0-6819-9BA3-1749-4EE4E3D171E4}"/>
              </a:ext>
            </a:extLst>
          </p:cNvPr>
          <p:cNvGraphicFramePr>
            <a:graphicFrameLocks noChangeAspect="1"/>
          </p:cNvGraphicFramePr>
          <p:nvPr>
            <p:custDataLst>
              <p:tags r:id="rId1"/>
            </p:custDataLst>
            <p:extLst>
              <p:ext uri="{D42A27DB-BD31-4B8C-83A1-F6EECF244321}">
                <p14:modId xmlns:p14="http://schemas.microsoft.com/office/powerpoint/2010/main" val="3528373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92" imgH="595" progId="TCLayout.ActiveDocument.1">
                  <p:embed/>
                </p:oleObj>
              </mc:Choice>
              <mc:Fallback>
                <p:oleObj name="think-cell Folie" r:id="rId10" imgW="592" imgH="595"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7CC1032-2040-4F68-87B7-31471BBC8DE3}"/>
              </a:ext>
            </a:extLst>
          </p:cNvPr>
          <p:cNvSpPr>
            <a:spLocks noGrp="1"/>
          </p:cNvSpPr>
          <p:nvPr>
            <p:ph type="title"/>
          </p:nvPr>
        </p:nvSpPr>
        <p:spPr/>
        <p:txBody>
          <a:bodyPr vert="horz"/>
          <a:lstStyle/>
          <a:p>
            <a:r>
              <a:rPr lang="en-US" dirty="0" err="1"/>
              <a:t>Prozesse</a:t>
            </a:r>
            <a:r>
              <a:rPr lang="en-US" dirty="0"/>
              <a:t>/</a:t>
            </a:r>
            <a:r>
              <a:rPr lang="en-US" dirty="0" err="1"/>
              <a:t>Kreissegmente</a:t>
            </a:r>
            <a:r>
              <a:rPr lang="en-US" dirty="0"/>
              <a:t> </a:t>
            </a:r>
            <a:r>
              <a:rPr lang="en-US" dirty="0" err="1"/>
              <a:t>bearbeiten</a:t>
            </a:r>
            <a:endParaRPr lang="en-US" dirty="0"/>
          </a:p>
        </p:txBody>
      </p:sp>
      <p:grpSp>
        <p:nvGrpSpPr>
          <p:cNvPr id="54" name="[BKT] Segmented Circle 53">
            <a:extLst>
              <a:ext uri="{FF2B5EF4-FFF2-40B4-BE49-F238E27FC236}">
                <a16:creationId xmlns:a16="http://schemas.microsoft.com/office/drawing/2014/main" id="{7B509E66-0880-4A54-F8DC-EF47541C84AD}"/>
              </a:ext>
            </a:extLst>
          </p:cNvPr>
          <p:cNvGrpSpPr>
            <a:grpSpLocks/>
          </p:cNvGrpSpPr>
          <p:nvPr/>
        </p:nvGrpSpPr>
        <p:grpSpPr>
          <a:xfrm>
            <a:off x="718957" y="1690957"/>
            <a:ext cx="1491610" cy="1491609"/>
            <a:chOff x="1125196" y="2189442"/>
            <a:chExt cx="2160000" cy="2159999"/>
          </a:xfrm>
        </p:grpSpPr>
        <p:sp>
          <p:nvSpPr>
            <p:cNvPr id="50" name="Freihandform: Form 49">
              <a:extLst>
                <a:ext uri="{FF2B5EF4-FFF2-40B4-BE49-F238E27FC236}">
                  <a16:creationId xmlns:a16="http://schemas.microsoft.com/office/drawing/2014/main" id="{2A7BC758-5EAF-0B89-2C78-0C3B2A1BE62A}"/>
                </a:ext>
              </a:extLst>
            </p:cNvPr>
            <p:cNvSpPr/>
            <p:nvPr/>
          </p:nvSpPr>
          <p:spPr>
            <a:xfrm>
              <a:off x="1650650" y="3269441"/>
              <a:ext cx="1634546" cy="1080000"/>
            </a:xfrm>
            <a:custGeom>
              <a:avLst/>
              <a:gdLst>
                <a:gd name="connsiteX0" fmla="*/ 2192096 w 2192096"/>
                <a:gd name="connsiteY0" fmla="*/ 0 h 1440000"/>
                <a:gd name="connsiteX1" fmla="*/ 739396 w 2192096"/>
                <a:gd name="connsiteY1" fmla="*/ 1440000 h 1440000"/>
                <a:gd name="connsiteX2" fmla="*/ 12783 w 2192096"/>
                <a:gd name="connsiteY2" fmla="*/ 1243307 h 1440000"/>
                <a:gd name="connsiteX3" fmla="*/ 0 w 2192096"/>
                <a:gd name="connsiteY3" fmla="*/ 1027342 h 1440000"/>
                <a:gd name="connsiteX4" fmla="*/ 194436 w 2192096"/>
                <a:gd name="connsiteY4" fmla="*/ 932480 h 1440000"/>
                <a:gd name="connsiteX5" fmla="*/ 739396 w 2192096"/>
                <a:gd name="connsiteY5" fmla="*/ 1080000 h 1440000"/>
                <a:gd name="connsiteX6" fmla="*/ 1819396 w 2192096"/>
                <a:gd name="connsiteY6" fmla="*/ 0 h 1440000"/>
                <a:gd name="connsiteX7" fmla="*/ 1999396 w 2192096"/>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8" fmla="*/ 2179395 w 2179395"/>
                <a:gd name="connsiteY8" fmla="*/ 0 h 1440000"/>
                <a:gd name="connsiteX0" fmla="*/ 2179395 w 2179395"/>
                <a:gd name="connsiteY0" fmla="*/ 0 h 1304372"/>
                <a:gd name="connsiteX1" fmla="*/ 12783 w 2179395"/>
                <a:gd name="connsiteY1" fmla="*/ 1243307 h 1304372"/>
                <a:gd name="connsiteX2" fmla="*/ 0 w 2179395"/>
                <a:gd name="connsiteY2" fmla="*/ 1027342 h 1304372"/>
                <a:gd name="connsiteX3" fmla="*/ 194436 w 2179395"/>
                <a:gd name="connsiteY3" fmla="*/ 932480 h 1304372"/>
                <a:gd name="connsiteX4" fmla="*/ 739396 w 2179395"/>
                <a:gd name="connsiteY4" fmla="*/ 1080000 h 1304372"/>
                <a:gd name="connsiteX5" fmla="*/ 1819396 w 2179395"/>
                <a:gd name="connsiteY5" fmla="*/ 0 h 1304372"/>
                <a:gd name="connsiteX6" fmla="*/ 1999396 w 2179395"/>
                <a:gd name="connsiteY6" fmla="*/ 120000 h 1304372"/>
                <a:gd name="connsiteX7" fmla="*/ 2179395 w 2179395"/>
                <a:gd name="connsiteY7" fmla="*/ 0 h 1304372"/>
                <a:gd name="connsiteX0" fmla="*/ 2179395 w 2179395"/>
                <a:gd name="connsiteY0" fmla="*/ 0 h 1257145"/>
                <a:gd name="connsiteX1" fmla="*/ 12783 w 2179395"/>
                <a:gd name="connsiteY1" fmla="*/ 1243307 h 1257145"/>
                <a:gd name="connsiteX2" fmla="*/ 0 w 2179395"/>
                <a:gd name="connsiteY2" fmla="*/ 1027342 h 1257145"/>
                <a:gd name="connsiteX3" fmla="*/ 194436 w 2179395"/>
                <a:gd name="connsiteY3" fmla="*/ 932480 h 1257145"/>
                <a:gd name="connsiteX4" fmla="*/ 739396 w 2179395"/>
                <a:gd name="connsiteY4" fmla="*/ 1080000 h 1257145"/>
                <a:gd name="connsiteX5" fmla="*/ 1819396 w 2179395"/>
                <a:gd name="connsiteY5" fmla="*/ 0 h 1257145"/>
                <a:gd name="connsiteX6" fmla="*/ 1999396 w 2179395"/>
                <a:gd name="connsiteY6" fmla="*/ 120000 h 1257145"/>
                <a:gd name="connsiteX7" fmla="*/ 2179395 w 2179395"/>
                <a:gd name="connsiteY7" fmla="*/ 0 h 1257145"/>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541068 w 1541068"/>
                <a:gd name="connsiteY0" fmla="*/ 0 h 1080000"/>
                <a:gd name="connsiteX1" fmla="*/ 101069 w 1541068"/>
                <a:gd name="connsiteY1" fmla="*/ 1080000 h 1080000"/>
                <a:gd name="connsiteX2" fmla="*/ 1181069 w 1541068"/>
                <a:gd name="connsiteY2" fmla="*/ 0 h 1080000"/>
                <a:gd name="connsiteX3" fmla="*/ 1361069 w 1541068"/>
                <a:gd name="connsiteY3" fmla="*/ 120000 h 1080000"/>
                <a:gd name="connsiteX4" fmla="*/ 1541068 w 1541068"/>
                <a:gd name="connsiteY4" fmla="*/ 0 h 1080000"/>
                <a:gd name="connsiteX0" fmla="*/ 1467511 w 1467511"/>
                <a:gd name="connsiteY0" fmla="*/ 0 h 1080000"/>
                <a:gd name="connsiteX1" fmla="*/ 27512 w 1467511"/>
                <a:gd name="connsiteY1" fmla="*/ 1080000 h 1080000"/>
                <a:gd name="connsiteX2" fmla="*/ 1107512 w 1467511"/>
                <a:gd name="connsiteY2" fmla="*/ 0 h 1080000"/>
                <a:gd name="connsiteX3" fmla="*/ 1287512 w 1467511"/>
                <a:gd name="connsiteY3" fmla="*/ 120000 h 1080000"/>
                <a:gd name="connsiteX4" fmla="*/ 1467511 w 1467511"/>
                <a:gd name="connsiteY4" fmla="*/ 0 h 1080000"/>
                <a:gd name="connsiteX0" fmla="*/ 498063 w 498063"/>
                <a:gd name="connsiteY0" fmla="*/ 0 h 641153"/>
                <a:gd name="connsiteX1" fmla="*/ 138064 w 498063"/>
                <a:gd name="connsiteY1" fmla="*/ 0 h 641153"/>
                <a:gd name="connsiteX2" fmla="*/ 318064 w 498063"/>
                <a:gd name="connsiteY2" fmla="*/ 120000 h 641153"/>
                <a:gd name="connsiteX3" fmla="*/ 498063 w 498063"/>
                <a:gd name="connsiteY3" fmla="*/ 0 h 641153"/>
                <a:gd name="connsiteX0" fmla="*/ 359999 w 359999"/>
                <a:gd name="connsiteY0" fmla="*/ 0 h 264960"/>
                <a:gd name="connsiteX1" fmla="*/ 0 w 359999"/>
                <a:gd name="connsiteY1" fmla="*/ 0 h 264960"/>
                <a:gd name="connsiteX2" fmla="*/ 180000 w 359999"/>
                <a:gd name="connsiteY2" fmla="*/ 120000 h 264960"/>
                <a:gd name="connsiteX3" fmla="*/ 359999 w 359999"/>
                <a:gd name="connsiteY3" fmla="*/ 0 h 264960"/>
                <a:gd name="connsiteX0" fmla="*/ 179999 w 179999"/>
                <a:gd name="connsiteY0" fmla="*/ 0 h 120000"/>
                <a:gd name="connsiteX1" fmla="*/ 0 w 179999"/>
                <a:gd name="connsiteY1" fmla="*/ 120000 h 120000"/>
                <a:gd name="connsiteX2" fmla="*/ 179999 w 179999"/>
                <a:gd name="connsiteY2" fmla="*/ 0 h 120000"/>
                <a:gd name="connsiteX0" fmla="*/ 179999 w 179999"/>
                <a:gd name="connsiteY0" fmla="*/ 0 h 120000"/>
                <a:gd name="connsiteX1" fmla="*/ 0 w 179999"/>
                <a:gd name="connsiteY1" fmla="*/ 120000 h 120000"/>
                <a:gd name="connsiteX2" fmla="*/ 179999 w 179999"/>
                <a:gd name="connsiteY2" fmla="*/ 0 h 12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60002"/>
                <a:gd name="connsiteY0" fmla="*/ 2 h 2"/>
                <a:gd name="connsiteX1" fmla="*/ 360002 w 360002"/>
                <a:gd name="connsiteY1" fmla="*/ 0 h 2"/>
                <a:gd name="connsiteX0" fmla="*/ 1080000 w 1440002"/>
                <a:gd name="connsiteY0" fmla="*/ 2 h 1080002"/>
                <a:gd name="connsiteX1" fmla="*/ 1440002 w 1440002"/>
                <a:gd name="connsiteY1" fmla="*/ 0 h 1080002"/>
                <a:gd name="connsiteX2" fmla="*/ 0 w 1440002"/>
                <a:gd name="connsiteY2" fmla="*/ 1080002 h 1080002"/>
                <a:gd name="connsiteX0" fmla="*/ 1624960 w 1984962"/>
                <a:gd name="connsiteY0" fmla="*/ 2 h 1080002"/>
                <a:gd name="connsiteX1" fmla="*/ 1984962 w 1984962"/>
                <a:gd name="connsiteY1" fmla="*/ 0 h 1080002"/>
                <a:gd name="connsiteX2" fmla="*/ 544960 w 1984962"/>
                <a:gd name="connsiteY2" fmla="*/ 1080002 h 1080002"/>
                <a:gd name="connsiteX3" fmla="*/ 0 w 1984962"/>
                <a:gd name="connsiteY3" fmla="*/ 932482 h 1080002"/>
                <a:gd name="connsiteX0" fmla="*/ 1624960 w 1624960"/>
                <a:gd name="connsiteY0" fmla="*/ 0 h 1080000"/>
                <a:gd name="connsiteX1" fmla="*/ 544960 w 1624960"/>
                <a:gd name="connsiteY1" fmla="*/ 1080000 h 1080000"/>
                <a:gd name="connsiteX2" fmla="*/ 0 w 1624960"/>
                <a:gd name="connsiteY2" fmla="*/ 93248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7" fmla="*/ 1499546 w 1634546"/>
                <a:gd name="connsiteY7" fmla="*/ 90000 h 10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4546" h="1080000">
                  <a:moveTo>
                    <a:pt x="1634546" y="0"/>
                  </a:moveTo>
                  <a:cubicBezTo>
                    <a:pt x="1634546" y="596160"/>
                    <a:pt x="1150706" y="1080000"/>
                    <a:pt x="554546" y="1080000"/>
                  </a:cubicBezTo>
                  <a:cubicBezTo>
                    <a:pt x="355826" y="1080000"/>
                    <a:pt x="169586" y="1026240"/>
                    <a:pt x="9586" y="932480"/>
                  </a:cubicBezTo>
                  <a:lnTo>
                    <a:pt x="0" y="770507"/>
                  </a:lnTo>
                  <a:lnTo>
                    <a:pt x="145826" y="699360"/>
                  </a:lnTo>
                  <a:cubicBezTo>
                    <a:pt x="265826" y="769680"/>
                    <a:pt x="405506" y="810000"/>
                    <a:pt x="554546" y="810000"/>
                  </a:cubicBezTo>
                  <a:cubicBezTo>
                    <a:pt x="1001666" y="810000"/>
                    <a:pt x="1364546" y="447120"/>
                    <a:pt x="1364546" y="0"/>
                  </a:cubicBezTo>
                  <a:lnTo>
                    <a:pt x="1499546" y="9000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Freihandform: Form 50">
              <a:extLst>
                <a:ext uri="{FF2B5EF4-FFF2-40B4-BE49-F238E27FC236}">
                  <a16:creationId xmlns:a16="http://schemas.microsoft.com/office/drawing/2014/main" id="{1AEA25E4-DA5E-B1AE-5B79-3019D00786F1}"/>
                </a:ext>
              </a:extLst>
            </p:cNvPr>
            <p:cNvSpPr/>
            <p:nvPr/>
          </p:nvSpPr>
          <p:spPr>
            <a:xfrm>
              <a:off x="1125196" y="2336960"/>
              <a:ext cx="680867" cy="1864959"/>
            </a:xfrm>
            <a:custGeom>
              <a:avLst/>
              <a:gdLst>
                <a:gd name="connsiteX0" fmla="*/ 7260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8" fmla="*/ 713387 w 907822"/>
                <a:gd name="connsiteY8" fmla="*/ 2486614 h 2486614"/>
                <a:gd name="connsiteX0" fmla="*/ 434081 w 628516"/>
                <a:gd name="connsiteY0" fmla="*/ 2486614 h 2486614"/>
                <a:gd name="connsiteX1" fmla="*/ 434081 w 628516"/>
                <a:gd name="connsiteY1" fmla="*/ 0 h 2486614"/>
                <a:gd name="connsiteX2" fmla="*/ 628516 w 628516"/>
                <a:gd name="connsiteY2" fmla="*/ 94863 h 2486614"/>
                <a:gd name="connsiteX3" fmla="*/ 615734 w 628516"/>
                <a:gd name="connsiteY3" fmla="*/ 310827 h 2486614"/>
                <a:gd name="connsiteX4" fmla="*/ 80694 w 628516"/>
                <a:gd name="connsiteY4" fmla="*/ 1243307 h 2486614"/>
                <a:gd name="connsiteX5" fmla="*/ 615734 w 628516"/>
                <a:gd name="connsiteY5" fmla="*/ 2175787 h 2486614"/>
                <a:gd name="connsiteX6" fmla="*/ 421298 w 628516"/>
                <a:gd name="connsiteY6" fmla="*/ 2270649 h 2486614"/>
                <a:gd name="connsiteX7" fmla="*/ 434081 w 628516"/>
                <a:gd name="connsiteY7" fmla="*/ 2486614 h 2486614"/>
                <a:gd name="connsiteX0" fmla="*/ 353387 w 547822"/>
                <a:gd name="connsiteY0" fmla="*/ 2486614 h 2486614"/>
                <a:gd name="connsiteX1" fmla="*/ 353387 w 547822"/>
                <a:gd name="connsiteY1" fmla="*/ 0 h 2486614"/>
                <a:gd name="connsiteX2" fmla="*/ 547822 w 547822"/>
                <a:gd name="connsiteY2" fmla="*/ 94863 h 2486614"/>
                <a:gd name="connsiteX3" fmla="*/ 535040 w 547822"/>
                <a:gd name="connsiteY3" fmla="*/ 310827 h 2486614"/>
                <a:gd name="connsiteX4" fmla="*/ 0 w 547822"/>
                <a:gd name="connsiteY4" fmla="*/ 1243307 h 2486614"/>
                <a:gd name="connsiteX5" fmla="*/ 535040 w 547822"/>
                <a:gd name="connsiteY5" fmla="*/ 2175787 h 2486614"/>
                <a:gd name="connsiteX6" fmla="*/ 340604 w 547822"/>
                <a:gd name="connsiteY6" fmla="*/ 2270649 h 2486614"/>
                <a:gd name="connsiteX7" fmla="*/ 353387 w 547822"/>
                <a:gd name="connsiteY7" fmla="*/ 2486614 h 2486614"/>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1477782 h 1477782"/>
                <a:gd name="connsiteX1" fmla="*/ 0 w 535040"/>
                <a:gd name="connsiteY1" fmla="*/ 234475 h 1477782"/>
                <a:gd name="connsiteX2" fmla="*/ 535040 w 535040"/>
                <a:gd name="connsiteY2" fmla="*/ 1166955 h 1477782"/>
                <a:gd name="connsiteX3" fmla="*/ 340604 w 535040"/>
                <a:gd name="connsiteY3" fmla="*/ 1261817 h 1477782"/>
                <a:gd name="connsiteX4" fmla="*/ 353387 w 535040"/>
                <a:gd name="connsiteY4" fmla="*/ 1477782 h 1477782"/>
                <a:gd name="connsiteX0" fmla="*/ 353387 w 535040"/>
                <a:gd name="connsiteY0" fmla="*/ 1332778 h 1332778"/>
                <a:gd name="connsiteX1" fmla="*/ 0 w 535040"/>
                <a:gd name="connsiteY1" fmla="*/ 89471 h 1332778"/>
                <a:gd name="connsiteX2" fmla="*/ 535040 w 535040"/>
                <a:gd name="connsiteY2" fmla="*/ 1021951 h 1332778"/>
                <a:gd name="connsiteX3" fmla="*/ 340604 w 535040"/>
                <a:gd name="connsiteY3" fmla="*/ 1116813 h 1332778"/>
                <a:gd name="connsiteX4" fmla="*/ 353387 w 535040"/>
                <a:gd name="connsiteY4" fmla="*/ 1332778 h 1332778"/>
                <a:gd name="connsiteX0" fmla="*/ 182310 w 363963"/>
                <a:gd name="connsiteY0" fmla="*/ 543055 h 543055"/>
                <a:gd name="connsiteX1" fmla="*/ 363963 w 363963"/>
                <a:gd name="connsiteY1" fmla="*/ 232228 h 543055"/>
                <a:gd name="connsiteX2" fmla="*/ 169527 w 363963"/>
                <a:gd name="connsiteY2" fmla="*/ 327090 h 543055"/>
                <a:gd name="connsiteX3" fmla="*/ 182310 w 363963"/>
                <a:gd name="connsiteY3" fmla="*/ 543055 h 543055"/>
                <a:gd name="connsiteX0" fmla="*/ 12783 w 194436"/>
                <a:gd name="connsiteY0" fmla="*/ 365461 h 365461"/>
                <a:gd name="connsiteX1" fmla="*/ 194436 w 194436"/>
                <a:gd name="connsiteY1" fmla="*/ 54634 h 365461"/>
                <a:gd name="connsiteX2" fmla="*/ 0 w 194436"/>
                <a:gd name="connsiteY2" fmla="*/ 149496 h 365461"/>
                <a:gd name="connsiteX3" fmla="*/ 12783 w 194436"/>
                <a:gd name="connsiteY3" fmla="*/ 365461 h 365461"/>
                <a:gd name="connsiteX0" fmla="*/ 12783 w 12783"/>
                <a:gd name="connsiteY0" fmla="*/ 215965 h 215965"/>
                <a:gd name="connsiteX1" fmla="*/ 0 w 12783"/>
                <a:gd name="connsiteY1" fmla="*/ 0 h 215965"/>
                <a:gd name="connsiteX2" fmla="*/ 12783 w 12783"/>
                <a:gd name="connsiteY2" fmla="*/ 215965 h 215965"/>
                <a:gd name="connsiteX0" fmla="*/ 12783 w 12783"/>
                <a:gd name="connsiteY0" fmla="*/ 215965 h 215965"/>
                <a:gd name="connsiteX1" fmla="*/ 0 w 12783"/>
                <a:gd name="connsiteY1" fmla="*/ 0 h 215965"/>
                <a:gd name="connsiteX2" fmla="*/ 12783 w 12783"/>
                <a:gd name="connsiteY2" fmla="*/ 215965 h 215965"/>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1 w 181651"/>
                <a:gd name="connsiteY0" fmla="*/ 0 h 310829"/>
                <a:gd name="connsiteX1" fmla="*/ 0 w 181651"/>
                <a:gd name="connsiteY1" fmla="*/ 310829 h 310829"/>
                <a:gd name="connsiteX0" fmla="*/ 535040 w 535040"/>
                <a:gd name="connsiteY0" fmla="*/ 932479 h 1243308"/>
                <a:gd name="connsiteX1" fmla="*/ 353389 w 535040"/>
                <a:gd name="connsiteY1" fmla="*/ 1243308 h 1243308"/>
                <a:gd name="connsiteX2" fmla="*/ 0 w 535040"/>
                <a:gd name="connsiteY2" fmla="*/ 0 h 1243308"/>
                <a:gd name="connsiteX0" fmla="*/ 535040 w 535040"/>
                <a:gd name="connsiteY0" fmla="*/ 1864959 h 2175788"/>
                <a:gd name="connsiteX1" fmla="*/ 353389 w 535040"/>
                <a:gd name="connsiteY1" fmla="*/ 2175788 h 2175788"/>
                <a:gd name="connsiteX2" fmla="*/ 0 w 535040"/>
                <a:gd name="connsiteY2" fmla="*/ 932480 h 2175788"/>
                <a:gd name="connsiteX3" fmla="*/ 535040 w 535040"/>
                <a:gd name="connsiteY3" fmla="*/ 0 h 2175788"/>
                <a:gd name="connsiteX0" fmla="*/ 535040 w 535040"/>
                <a:gd name="connsiteY0" fmla="*/ 1864959 h 1864959"/>
                <a:gd name="connsiteX1" fmla="*/ 0 w 535040"/>
                <a:gd name="connsiteY1" fmla="*/ 932480 h 1864959"/>
                <a:gd name="connsiteX2" fmla="*/ 535040 w 535040"/>
                <a:gd name="connsiteY2" fmla="*/ 0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7" fmla="*/ 525454 w 680867"/>
                <a:gd name="connsiteY7" fmla="*/ 1702988 h 186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0867" h="1864959">
                  <a:moveTo>
                    <a:pt x="535040" y="1864959"/>
                  </a:moveTo>
                  <a:cubicBezTo>
                    <a:pt x="215040" y="1677440"/>
                    <a:pt x="0" y="1329920"/>
                    <a:pt x="0" y="932480"/>
                  </a:cubicBezTo>
                  <a:cubicBezTo>
                    <a:pt x="0" y="535040"/>
                    <a:pt x="215040" y="187520"/>
                    <a:pt x="535040" y="0"/>
                  </a:cubicBezTo>
                  <a:lnTo>
                    <a:pt x="680867" y="71148"/>
                  </a:lnTo>
                  <a:lnTo>
                    <a:pt x="671280" y="233121"/>
                  </a:lnTo>
                  <a:cubicBezTo>
                    <a:pt x="431280" y="373761"/>
                    <a:pt x="270000" y="634401"/>
                    <a:pt x="270000" y="932481"/>
                  </a:cubicBezTo>
                  <a:cubicBezTo>
                    <a:pt x="270000" y="1230561"/>
                    <a:pt x="431280" y="1491201"/>
                    <a:pt x="671280" y="1631841"/>
                  </a:cubicBezTo>
                  <a:lnTo>
                    <a:pt x="525454" y="1702988"/>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Freihandform: Form 51">
              <a:extLst>
                <a:ext uri="{FF2B5EF4-FFF2-40B4-BE49-F238E27FC236}">
                  <a16:creationId xmlns:a16="http://schemas.microsoft.com/office/drawing/2014/main" id="{8701ED53-D302-A767-1271-52A61FA62415}"/>
                </a:ext>
              </a:extLst>
            </p:cNvPr>
            <p:cNvSpPr/>
            <p:nvPr/>
          </p:nvSpPr>
          <p:spPr>
            <a:xfrm>
              <a:off x="1660236" y="2189442"/>
              <a:ext cx="1624960" cy="1169999"/>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4960" h="1169999">
                  <a:moveTo>
                    <a:pt x="0" y="147520"/>
                  </a:moveTo>
                  <a:cubicBezTo>
                    <a:pt x="160000" y="53760"/>
                    <a:pt x="346240" y="0"/>
                    <a:pt x="544960" y="0"/>
                  </a:cubicBezTo>
                  <a:cubicBezTo>
                    <a:pt x="1141120" y="0"/>
                    <a:pt x="1624960" y="483840"/>
                    <a:pt x="1624960" y="1080000"/>
                  </a:cubicBezTo>
                  <a:lnTo>
                    <a:pt x="1489960" y="1169999"/>
                  </a:lnTo>
                  <a:lnTo>
                    <a:pt x="1354960" y="1079999"/>
                  </a:lnTo>
                  <a:cubicBezTo>
                    <a:pt x="1354960" y="632879"/>
                    <a:pt x="992080" y="269999"/>
                    <a:pt x="544960" y="269999"/>
                  </a:cubicBezTo>
                  <a:cubicBezTo>
                    <a:pt x="395920" y="269999"/>
                    <a:pt x="256240" y="310319"/>
                    <a:pt x="136240" y="380639"/>
                  </a:cubicBezTo>
                  <a:lnTo>
                    <a:pt x="145827" y="21866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BKT] Segmented Circle 53">
            <a:extLst>
              <a:ext uri="{FF2B5EF4-FFF2-40B4-BE49-F238E27FC236}">
                <a16:creationId xmlns:a16="http://schemas.microsoft.com/office/drawing/2014/main" id="{250FFEF5-AD0A-A409-25B5-BAB1420378A8}"/>
              </a:ext>
            </a:extLst>
          </p:cNvPr>
          <p:cNvGrpSpPr>
            <a:grpSpLocks/>
          </p:cNvGrpSpPr>
          <p:nvPr/>
        </p:nvGrpSpPr>
        <p:grpSpPr>
          <a:xfrm>
            <a:off x="2355655" y="2103652"/>
            <a:ext cx="1490810" cy="1491608"/>
            <a:chOff x="3164091" y="1784406"/>
            <a:chExt cx="2158843" cy="2159998"/>
          </a:xfrm>
        </p:grpSpPr>
        <p:sp>
          <p:nvSpPr>
            <p:cNvPr id="56" name="Freihandform: Form 55">
              <a:extLst>
                <a:ext uri="{FF2B5EF4-FFF2-40B4-BE49-F238E27FC236}">
                  <a16:creationId xmlns:a16="http://schemas.microsoft.com/office/drawing/2014/main" id="{BB147198-056E-58E2-DD23-12F44739383E}"/>
                </a:ext>
              </a:extLst>
            </p:cNvPr>
            <p:cNvSpPr/>
            <p:nvPr/>
          </p:nvSpPr>
          <p:spPr>
            <a:xfrm>
              <a:off x="4312894" y="2916195"/>
              <a:ext cx="1009949" cy="960351"/>
            </a:xfrm>
            <a:custGeom>
              <a:avLst/>
              <a:gdLst>
                <a:gd name="connsiteX0" fmla="*/ 2192096 w 2192096"/>
                <a:gd name="connsiteY0" fmla="*/ 0 h 1440000"/>
                <a:gd name="connsiteX1" fmla="*/ 739396 w 2192096"/>
                <a:gd name="connsiteY1" fmla="*/ 1440000 h 1440000"/>
                <a:gd name="connsiteX2" fmla="*/ 12783 w 2192096"/>
                <a:gd name="connsiteY2" fmla="*/ 1243307 h 1440000"/>
                <a:gd name="connsiteX3" fmla="*/ 0 w 2192096"/>
                <a:gd name="connsiteY3" fmla="*/ 1027342 h 1440000"/>
                <a:gd name="connsiteX4" fmla="*/ 194436 w 2192096"/>
                <a:gd name="connsiteY4" fmla="*/ 932480 h 1440000"/>
                <a:gd name="connsiteX5" fmla="*/ 739396 w 2192096"/>
                <a:gd name="connsiteY5" fmla="*/ 1080000 h 1440000"/>
                <a:gd name="connsiteX6" fmla="*/ 1819396 w 2192096"/>
                <a:gd name="connsiteY6" fmla="*/ 0 h 1440000"/>
                <a:gd name="connsiteX7" fmla="*/ 1999396 w 2192096"/>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8" fmla="*/ 2179395 w 2179395"/>
                <a:gd name="connsiteY8" fmla="*/ 0 h 1440000"/>
                <a:gd name="connsiteX0" fmla="*/ 2179395 w 2179395"/>
                <a:gd name="connsiteY0" fmla="*/ 0 h 1304372"/>
                <a:gd name="connsiteX1" fmla="*/ 12783 w 2179395"/>
                <a:gd name="connsiteY1" fmla="*/ 1243307 h 1304372"/>
                <a:gd name="connsiteX2" fmla="*/ 0 w 2179395"/>
                <a:gd name="connsiteY2" fmla="*/ 1027342 h 1304372"/>
                <a:gd name="connsiteX3" fmla="*/ 194436 w 2179395"/>
                <a:gd name="connsiteY3" fmla="*/ 932480 h 1304372"/>
                <a:gd name="connsiteX4" fmla="*/ 739396 w 2179395"/>
                <a:gd name="connsiteY4" fmla="*/ 1080000 h 1304372"/>
                <a:gd name="connsiteX5" fmla="*/ 1819396 w 2179395"/>
                <a:gd name="connsiteY5" fmla="*/ 0 h 1304372"/>
                <a:gd name="connsiteX6" fmla="*/ 1999396 w 2179395"/>
                <a:gd name="connsiteY6" fmla="*/ 120000 h 1304372"/>
                <a:gd name="connsiteX7" fmla="*/ 2179395 w 2179395"/>
                <a:gd name="connsiteY7" fmla="*/ 0 h 1304372"/>
                <a:gd name="connsiteX0" fmla="*/ 2179395 w 2179395"/>
                <a:gd name="connsiteY0" fmla="*/ 0 h 1257145"/>
                <a:gd name="connsiteX1" fmla="*/ 12783 w 2179395"/>
                <a:gd name="connsiteY1" fmla="*/ 1243307 h 1257145"/>
                <a:gd name="connsiteX2" fmla="*/ 0 w 2179395"/>
                <a:gd name="connsiteY2" fmla="*/ 1027342 h 1257145"/>
                <a:gd name="connsiteX3" fmla="*/ 194436 w 2179395"/>
                <a:gd name="connsiteY3" fmla="*/ 932480 h 1257145"/>
                <a:gd name="connsiteX4" fmla="*/ 739396 w 2179395"/>
                <a:gd name="connsiteY4" fmla="*/ 1080000 h 1257145"/>
                <a:gd name="connsiteX5" fmla="*/ 1819396 w 2179395"/>
                <a:gd name="connsiteY5" fmla="*/ 0 h 1257145"/>
                <a:gd name="connsiteX6" fmla="*/ 1999396 w 2179395"/>
                <a:gd name="connsiteY6" fmla="*/ 120000 h 1257145"/>
                <a:gd name="connsiteX7" fmla="*/ 2179395 w 2179395"/>
                <a:gd name="connsiteY7" fmla="*/ 0 h 1257145"/>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541068 w 1541068"/>
                <a:gd name="connsiteY0" fmla="*/ 0 h 1080000"/>
                <a:gd name="connsiteX1" fmla="*/ 101069 w 1541068"/>
                <a:gd name="connsiteY1" fmla="*/ 1080000 h 1080000"/>
                <a:gd name="connsiteX2" fmla="*/ 1181069 w 1541068"/>
                <a:gd name="connsiteY2" fmla="*/ 0 h 1080000"/>
                <a:gd name="connsiteX3" fmla="*/ 1361069 w 1541068"/>
                <a:gd name="connsiteY3" fmla="*/ 120000 h 1080000"/>
                <a:gd name="connsiteX4" fmla="*/ 1541068 w 1541068"/>
                <a:gd name="connsiteY4" fmla="*/ 0 h 1080000"/>
                <a:gd name="connsiteX0" fmla="*/ 1467511 w 1467511"/>
                <a:gd name="connsiteY0" fmla="*/ 0 h 1080000"/>
                <a:gd name="connsiteX1" fmla="*/ 27512 w 1467511"/>
                <a:gd name="connsiteY1" fmla="*/ 1080000 h 1080000"/>
                <a:gd name="connsiteX2" fmla="*/ 1107512 w 1467511"/>
                <a:gd name="connsiteY2" fmla="*/ 0 h 1080000"/>
                <a:gd name="connsiteX3" fmla="*/ 1287512 w 1467511"/>
                <a:gd name="connsiteY3" fmla="*/ 120000 h 1080000"/>
                <a:gd name="connsiteX4" fmla="*/ 1467511 w 1467511"/>
                <a:gd name="connsiteY4" fmla="*/ 0 h 1080000"/>
                <a:gd name="connsiteX0" fmla="*/ 498063 w 498063"/>
                <a:gd name="connsiteY0" fmla="*/ 0 h 641153"/>
                <a:gd name="connsiteX1" fmla="*/ 138064 w 498063"/>
                <a:gd name="connsiteY1" fmla="*/ 0 h 641153"/>
                <a:gd name="connsiteX2" fmla="*/ 318064 w 498063"/>
                <a:gd name="connsiteY2" fmla="*/ 120000 h 641153"/>
                <a:gd name="connsiteX3" fmla="*/ 498063 w 498063"/>
                <a:gd name="connsiteY3" fmla="*/ 0 h 641153"/>
                <a:gd name="connsiteX0" fmla="*/ 359999 w 359999"/>
                <a:gd name="connsiteY0" fmla="*/ 0 h 264960"/>
                <a:gd name="connsiteX1" fmla="*/ 0 w 359999"/>
                <a:gd name="connsiteY1" fmla="*/ 0 h 264960"/>
                <a:gd name="connsiteX2" fmla="*/ 180000 w 359999"/>
                <a:gd name="connsiteY2" fmla="*/ 120000 h 264960"/>
                <a:gd name="connsiteX3" fmla="*/ 359999 w 359999"/>
                <a:gd name="connsiteY3" fmla="*/ 0 h 264960"/>
                <a:gd name="connsiteX0" fmla="*/ 179999 w 179999"/>
                <a:gd name="connsiteY0" fmla="*/ 0 h 120000"/>
                <a:gd name="connsiteX1" fmla="*/ 0 w 179999"/>
                <a:gd name="connsiteY1" fmla="*/ 120000 h 120000"/>
                <a:gd name="connsiteX2" fmla="*/ 179999 w 179999"/>
                <a:gd name="connsiteY2" fmla="*/ 0 h 120000"/>
                <a:gd name="connsiteX0" fmla="*/ 179999 w 179999"/>
                <a:gd name="connsiteY0" fmla="*/ 0 h 120000"/>
                <a:gd name="connsiteX1" fmla="*/ 0 w 179999"/>
                <a:gd name="connsiteY1" fmla="*/ 120000 h 120000"/>
                <a:gd name="connsiteX2" fmla="*/ 179999 w 179999"/>
                <a:gd name="connsiteY2" fmla="*/ 0 h 12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60002"/>
                <a:gd name="connsiteY0" fmla="*/ 2 h 2"/>
                <a:gd name="connsiteX1" fmla="*/ 360002 w 360002"/>
                <a:gd name="connsiteY1" fmla="*/ 0 h 2"/>
                <a:gd name="connsiteX0" fmla="*/ 1080000 w 1440002"/>
                <a:gd name="connsiteY0" fmla="*/ 2 h 1080002"/>
                <a:gd name="connsiteX1" fmla="*/ 1440002 w 1440002"/>
                <a:gd name="connsiteY1" fmla="*/ 0 h 1080002"/>
                <a:gd name="connsiteX2" fmla="*/ 0 w 1440002"/>
                <a:gd name="connsiteY2" fmla="*/ 1080002 h 1080002"/>
                <a:gd name="connsiteX0" fmla="*/ 1624960 w 1984962"/>
                <a:gd name="connsiteY0" fmla="*/ 2 h 1080002"/>
                <a:gd name="connsiteX1" fmla="*/ 1984962 w 1984962"/>
                <a:gd name="connsiteY1" fmla="*/ 0 h 1080002"/>
                <a:gd name="connsiteX2" fmla="*/ 544960 w 1984962"/>
                <a:gd name="connsiteY2" fmla="*/ 1080002 h 1080002"/>
                <a:gd name="connsiteX3" fmla="*/ 0 w 1984962"/>
                <a:gd name="connsiteY3" fmla="*/ 932482 h 1080002"/>
                <a:gd name="connsiteX0" fmla="*/ 1624960 w 1624960"/>
                <a:gd name="connsiteY0" fmla="*/ 0 h 1080000"/>
                <a:gd name="connsiteX1" fmla="*/ 544960 w 1624960"/>
                <a:gd name="connsiteY1" fmla="*/ 1080000 h 1080000"/>
                <a:gd name="connsiteX2" fmla="*/ 0 w 1624960"/>
                <a:gd name="connsiteY2" fmla="*/ 93248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7" fmla="*/ 1499546 w 1634546"/>
                <a:gd name="connsiteY7" fmla="*/ 9000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7" fmla="*/ 1499546 w 1634546"/>
                <a:gd name="connsiteY7" fmla="*/ 90000 h 1080000"/>
                <a:gd name="connsiteX8" fmla="*/ 1634546 w 1634546"/>
                <a:gd name="connsiteY8" fmla="*/ 0 h 1080000"/>
                <a:gd name="connsiteX0" fmla="*/ 1634546 w 1634546"/>
                <a:gd name="connsiteY0" fmla="*/ 0 h 978279"/>
                <a:gd name="connsiteX1" fmla="*/ 9586 w 1634546"/>
                <a:gd name="connsiteY1" fmla="*/ 932480 h 978279"/>
                <a:gd name="connsiteX2" fmla="*/ 0 w 1634546"/>
                <a:gd name="connsiteY2" fmla="*/ 770507 h 978279"/>
                <a:gd name="connsiteX3" fmla="*/ 145826 w 1634546"/>
                <a:gd name="connsiteY3" fmla="*/ 699360 h 978279"/>
                <a:gd name="connsiteX4" fmla="*/ 554546 w 1634546"/>
                <a:gd name="connsiteY4" fmla="*/ 810000 h 978279"/>
                <a:gd name="connsiteX5" fmla="*/ 1364546 w 1634546"/>
                <a:gd name="connsiteY5" fmla="*/ 0 h 978279"/>
                <a:gd name="connsiteX6" fmla="*/ 1499546 w 1634546"/>
                <a:gd name="connsiteY6" fmla="*/ 90000 h 978279"/>
                <a:gd name="connsiteX7" fmla="*/ 1634546 w 1634546"/>
                <a:gd name="connsiteY7" fmla="*/ 0 h 978279"/>
                <a:gd name="connsiteX0" fmla="*/ 1634546 w 1634546"/>
                <a:gd name="connsiteY0" fmla="*/ 0 h 942859"/>
                <a:gd name="connsiteX1" fmla="*/ 9586 w 1634546"/>
                <a:gd name="connsiteY1" fmla="*/ 932480 h 942859"/>
                <a:gd name="connsiteX2" fmla="*/ 0 w 1634546"/>
                <a:gd name="connsiteY2" fmla="*/ 770507 h 942859"/>
                <a:gd name="connsiteX3" fmla="*/ 145826 w 1634546"/>
                <a:gd name="connsiteY3" fmla="*/ 699360 h 942859"/>
                <a:gd name="connsiteX4" fmla="*/ 554546 w 1634546"/>
                <a:gd name="connsiteY4" fmla="*/ 810000 h 942859"/>
                <a:gd name="connsiteX5" fmla="*/ 1364546 w 1634546"/>
                <a:gd name="connsiteY5" fmla="*/ 0 h 942859"/>
                <a:gd name="connsiteX6" fmla="*/ 1499546 w 1634546"/>
                <a:gd name="connsiteY6" fmla="*/ 90000 h 942859"/>
                <a:gd name="connsiteX7" fmla="*/ 1634546 w 1634546"/>
                <a:gd name="connsiteY7" fmla="*/ 0 h 942859"/>
                <a:gd name="connsiteX0" fmla="*/ 1634546 w 1634546"/>
                <a:gd name="connsiteY0" fmla="*/ 0 h 810000"/>
                <a:gd name="connsiteX1" fmla="*/ 0 w 1634546"/>
                <a:gd name="connsiteY1" fmla="*/ 770507 h 810000"/>
                <a:gd name="connsiteX2" fmla="*/ 145826 w 1634546"/>
                <a:gd name="connsiteY2" fmla="*/ 699360 h 810000"/>
                <a:gd name="connsiteX3" fmla="*/ 554546 w 1634546"/>
                <a:gd name="connsiteY3" fmla="*/ 810000 h 810000"/>
                <a:gd name="connsiteX4" fmla="*/ 1364546 w 1634546"/>
                <a:gd name="connsiteY4" fmla="*/ 0 h 810000"/>
                <a:gd name="connsiteX5" fmla="*/ 1499546 w 1634546"/>
                <a:gd name="connsiteY5" fmla="*/ 90000 h 810000"/>
                <a:gd name="connsiteX6" fmla="*/ 1634546 w 1634546"/>
                <a:gd name="connsiteY6" fmla="*/ 0 h 810000"/>
                <a:gd name="connsiteX0" fmla="*/ 1634546 w 1634546"/>
                <a:gd name="connsiteY0" fmla="*/ 0 h 810000"/>
                <a:gd name="connsiteX1" fmla="*/ 0 w 1634546"/>
                <a:gd name="connsiteY1" fmla="*/ 770507 h 810000"/>
                <a:gd name="connsiteX2" fmla="*/ 145826 w 1634546"/>
                <a:gd name="connsiteY2" fmla="*/ 699360 h 810000"/>
                <a:gd name="connsiteX3" fmla="*/ 554546 w 1634546"/>
                <a:gd name="connsiteY3" fmla="*/ 810000 h 810000"/>
                <a:gd name="connsiteX4" fmla="*/ 1364546 w 1634546"/>
                <a:gd name="connsiteY4" fmla="*/ 0 h 810000"/>
                <a:gd name="connsiteX5" fmla="*/ 1499546 w 1634546"/>
                <a:gd name="connsiteY5" fmla="*/ 90000 h 810000"/>
                <a:gd name="connsiteX6" fmla="*/ 1634546 w 1634546"/>
                <a:gd name="connsiteY6" fmla="*/ 0 h 810000"/>
                <a:gd name="connsiteX0" fmla="*/ 1488720 w 1488720"/>
                <a:gd name="connsiteY0" fmla="*/ 0 h 810000"/>
                <a:gd name="connsiteX1" fmla="*/ 0 w 1488720"/>
                <a:gd name="connsiteY1" fmla="*/ 699360 h 810000"/>
                <a:gd name="connsiteX2" fmla="*/ 408720 w 1488720"/>
                <a:gd name="connsiteY2" fmla="*/ 810000 h 810000"/>
                <a:gd name="connsiteX3" fmla="*/ 1218720 w 1488720"/>
                <a:gd name="connsiteY3" fmla="*/ 0 h 810000"/>
                <a:gd name="connsiteX4" fmla="*/ 1353720 w 1488720"/>
                <a:gd name="connsiteY4" fmla="*/ 90000 h 810000"/>
                <a:gd name="connsiteX5" fmla="*/ 1488720 w 1488720"/>
                <a:gd name="connsiteY5" fmla="*/ 0 h 810000"/>
                <a:gd name="connsiteX0" fmla="*/ 1488720 w 1488720"/>
                <a:gd name="connsiteY0" fmla="*/ 0 h 810000"/>
                <a:gd name="connsiteX1" fmla="*/ 0 w 1488720"/>
                <a:gd name="connsiteY1" fmla="*/ 699360 h 810000"/>
                <a:gd name="connsiteX2" fmla="*/ 408720 w 1488720"/>
                <a:gd name="connsiteY2" fmla="*/ 810000 h 810000"/>
                <a:gd name="connsiteX3" fmla="*/ 1218720 w 1488720"/>
                <a:gd name="connsiteY3" fmla="*/ 0 h 810000"/>
                <a:gd name="connsiteX4" fmla="*/ 1353720 w 1488720"/>
                <a:gd name="connsiteY4" fmla="*/ 90000 h 810000"/>
                <a:gd name="connsiteX5" fmla="*/ 1488720 w 1488720"/>
                <a:gd name="connsiteY5" fmla="*/ 0 h 810000"/>
                <a:gd name="connsiteX0" fmla="*/ 1155802 w 1155802"/>
                <a:gd name="connsiteY0" fmla="*/ 0 h 810000"/>
                <a:gd name="connsiteX1" fmla="*/ 75802 w 1155802"/>
                <a:gd name="connsiteY1" fmla="*/ 810000 h 810000"/>
                <a:gd name="connsiteX2" fmla="*/ 885802 w 1155802"/>
                <a:gd name="connsiteY2" fmla="*/ 0 h 810000"/>
                <a:gd name="connsiteX3" fmla="*/ 1020802 w 1155802"/>
                <a:gd name="connsiteY3" fmla="*/ 90000 h 810000"/>
                <a:gd name="connsiteX4" fmla="*/ 1155802 w 1155802"/>
                <a:gd name="connsiteY4" fmla="*/ 0 h 810000"/>
                <a:gd name="connsiteX0" fmla="*/ 1100634 w 1100634"/>
                <a:gd name="connsiteY0" fmla="*/ 0 h 810000"/>
                <a:gd name="connsiteX1" fmla="*/ 20634 w 1100634"/>
                <a:gd name="connsiteY1" fmla="*/ 810000 h 810000"/>
                <a:gd name="connsiteX2" fmla="*/ 830634 w 1100634"/>
                <a:gd name="connsiteY2" fmla="*/ 0 h 810000"/>
                <a:gd name="connsiteX3" fmla="*/ 965634 w 1100634"/>
                <a:gd name="connsiteY3" fmla="*/ 90000 h 810000"/>
                <a:gd name="connsiteX4" fmla="*/ 1100634 w 1100634"/>
                <a:gd name="connsiteY4" fmla="*/ 0 h 810000"/>
                <a:gd name="connsiteX0" fmla="*/ 373548 w 373548"/>
                <a:gd name="connsiteY0" fmla="*/ 0 h 480865"/>
                <a:gd name="connsiteX1" fmla="*/ 103548 w 373548"/>
                <a:gd name="connsiteY1" fmla="*/ 0 h 480865"/>
                <a:gd name="connsiteX2" fmla="*/ 238548 w 373548"/>
                <a:gd name="connsiteY2" fmla="*/ 90000 h 480865"/>
                <a:gd name="connsiteX3" fmla="*/ 373548 w 373548"/>
                <a:gd name="connsiteY3" fmla="*/ 0 h 480865"/>
                <a:gd name="connsiteX0" fmla="*/ 270000 w 270000"/>
                <a:gd name="connsiteY0" fmla="*/ 0 h 198720"/>
                <a:gd name="connsiteX1" fmla="*/ 0 w 270000"/>
                <a:gd name="connsiteY1" fmla="*/ 0 h 198720"/>
                <a:gd name="connsiteX2" fmla="*/ 135000 w 270000"/>
                <a:gd name="connsiteY2" fmla="*/ 90000 h 198720"/>
                <a:gd name="connsiteX3" fmla="*/ 270000 w 270000"/>
                <a:gd name="connsiteY3" fmla="*/ 0 h 198720"/>
                <a:gd name="connsiteX0" fmla="*/ 135000 w 135000"/>
                <a:gd name="connsiteY0" fmla="*/ 0 h 90000"/>
                <a:gd name="connsiteX1" fmla="*/ 0 w 135000"/>
                <a:gd name="connsiteY1" fmla="*/ 90000 h 90000"/>
                <a:gd name="connsiteX2" fmla="*/ 135000 w 135000"/>
                <a:gd name="connsiteY2" fmla="*/ 0 h 90000"/>
                <a:gd name="connsiteX0" fmla="*/ 135000 w 135000"/>
                <a:gd name="connsiteY0" fmla="*/ 0 h 90000"/>
                <a:gd name="connsiteX1" fmla="*/ 0 w 135000"/>
                <a:gd name="connsiteY1" fmla="*/ 90000 h 90000"/>
                <a:gd name="connsiteX2" fmla="*/ 135000 w 135000"/>
                <a:gd name="connsiteY2" fmla="*/ 0 h 9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1245"/>
                <a:gd name="connsiteY0" fmla="*/ 52280 h 52280"/>
                <a:gd name="connsiteX1" fmla="*/ 1245 w 1245"/>
                <a:gd name="connsiteY1" fmla="*/ 0 h 52280"/>
                <a:gd name="connsiteX0" fmla="*/ 701347 w 702592"/>
                <a:gd name="connsiteY0" fmla="*/ 52280 h 1012144"/>
                <a:gd name="connsiteX1" fmla="*/ 702592 w 702592"/>
                <a:gd name="connsiteY1" fmla="*/ 0 h 1012144"/>
                <a:gd name="connsiteX2" fmla="*/ 0 w 702592"/>
                <a:gd name="connsiteY2" fmla="*/ 1012144 h 1012144"/>
                <a:gd name="connsiteX0" fmla="*/ 701347 w 701347"/>
                <a:gd name="connsiteY0" fmla="*/ 0 h 959864"/>
                <a:gd name="connsiteX1" fmla="*/ 0 w 701347"/>
                <a:gd name="connsiteY1" fmla="*/ 959864 h 959864"/>
                <a:gd name="connsiteX0" fmla="*/ 1009949 w 1009949"/>
                <a:gd name="connsiteY0" fmla="*/ 0 h 959864"/>
                <a:gd name="connsiteX1" fmla="*/ 308602 w 1009949"/>
                <a:gd name="connsiteY1" fmla="*/ 959864 h 959864"/>
                <a:gd name="connsiteX2" fmla="*/ 0 w 1009949"/>
                <a:gd name="connsiteY2" fmla="*/ 721430 h 959864"/>
                <a:gd name="connsiteX0" fmla="*/ 1009949 w 1009949"/>
                <a:gd name="connsiteY0" fmla="*/ 0 h 959864"/>
                <a:gd name="connsiteX1" fmla="*/ 308602 w 1009949"/>
                <a:gd name="connsiteY1" fmla="*/ 959864 h 959864"/>
                <a:gd name="connsiteX2" fmla="*/ 0 w 1009949"/>
                <a:gd name="connsiteY2" fmla="*/ 721430 h 959864"/>
                <a:gd name="connsiteX3" fmla="*/ 101400 w 1009949"/>
                <a:gd name="connsiteY3" fmla="*/ 344860 h 959864"/>
                <a:gd name="connsiteX0" fmla="*/ 1009949 w 1009949"/>
                <a:gd name="connsiteY0" fmla="*/ 487 h 960351"/>
                <a:gd name="connsiteX1" fmla="*/ 308602 w 1009949"/>
                <a:gd name="connsiteY1" fmla="*/ 960351 h 960351"/>
                <a:gd name="connsiteX2" fmla="*/ 0 w 1009949"/>
                <a:gd name="connsiteY2" fmla="*/ 721917 h 960351"/>
                <a:gd name="connsiteX3" fmla="*/ 101400 w 1009949"/>
                <a:gd name="connsiteY3" fmla="*/ 345347 h 960351"/>
                <a:gd name="connsiteX4" fmla="*/ 360118 w 1009949"/>
                <a:gd name="connsiteY4" fmla="*/ 0 h 960351"/>
                <a:gd name="connsiteX0" fmla="*/ 1009949 w 1009949"/>
                <a:gd name="connsiteY0" fmla="*/ 487 h 960351"/>
                <a:gd name="connsiteX1" fmla="*/ 308602 w 1009949"/>
                <a:gd name="connsiteY1" fmla="*/ 960351 h 960351"/>
                <a:gd name="connsiteX2" fmla="*/ 0 w 1009949"/>
                <a:gd name="connsiteY2" fmla="*/ 721917 h 960351"/>
                <a:gd name="connsiteX3" fmla="*/ 101400 w 1009949"/>
                <a:gd name="connsiteY3" fmla="*/ 345347 h 960351"/>
                <a:gd name="connsiteX4" fmla="*/ 360118 w 1009949"/>
                <a:gd name="connsiteY4" fmla="*/ 0 h 960351"/>
                <a:gd name="connsiteX5" fmla="*/ 684873 w 1009949"/>
                <a:gd name="connsiteY5" fmla="*/ 216855 h 96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9949" h="960351">
                  <a:moveTo>
                    <a:pt x="1009949" y="487"/>
                  </a:moveTo>
                  <a:cubicBezTo>
                    <a:pt x="988912" y="441204"/>
                    <a:pt x="703312" y="812976"/>
                    <a:pt x="308602" y="960351"/>
                  </a:cubicBezTo>
                  <a:lnTo>
                    <a:pt x="0" y="721917"/>
                  </a:lnTo>
                  <a:lnTo>
                    <a:pt x="101400" y="345347"/>
                  </a:lnTo>
                  <a:cubicBezTo>
                    <a:pt x="240164" y="285750"/>
                    <a:pt x="341510" y="155527"/>
                    <a:pt x="360118" y="0"/>
                  </a:cubicBezTo>
                  <a:lnTo>
                    <a:pt x="684873" y="21685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ihandform: Form 56">
              <a:extLst>
                <a:ext uri="{FF2B5EF4-FFF2-40B4-BE49-F238E27FC236}">
                  <a16:creationId xmlns:a16="http://schemas.microsoft.com/office/drawing/2014/main" id="{FCA1F688-CDE8-565F-FE1F-92E8EEB76E0F}"/>
                </a:ext>
              </a:extLst>
            </p:cNvPr>
            <p:cNvSpPr/>
            <p:nvPr/>
          </p:nvSpPr>
          <p:spPr>
            <a:xfrm>
              <a:off x="3402310" y="3157146"/>
              <a:ext cx="1127001" cy="787258"/>
            </a:xfrm>
            <a:custGeom>
              <a:avLst/>
              <a:gdLst>
                <a:gd name="connsiteX0" fmla="*/ 7260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8" fmla="*/ 713387 w 907822"/>
                <a:gd name="connsiteY8" fmla="*/ 2486614 h 2486614"/>
                <a:gd name="connsiteX0" fmla="*/ 434081 w 628516"/>
                <a:gd name="connsiteY0" fmla="*/ 2486614 h 2486614"/>
                <a:gd name="connsiteX1" fmla="*/ 434081 w 628516"/>
                <a:gd name="connsiteY1" fmla="*/ 0 h 2486614"/>
                <a:gd name="connsiteX2" fmla="*/ 628516 w 628516"/>
                <a:gd name="connsiteY2" fmla="*/ 94863 h 2486614"/>
                <a:gd name="connsiteX3" fmla="*/ 615734 w 628516"/>
                <a:gd name="connsiteY3" fmla="*/ 310827 h 2486614"/>
                <a:gd name="connsiteX4" fmla="*/ 80694 w 628516"/>
                <a:gd name="connsiteY4" fmla="*/ 1243307 h 2486614"/>
                <a:gd name="connsiteX5" fmla="*/ 615734 w 628516"/>
                <a:gd name="connsiteY5" fmla="*/ 2175787 h 2486614"/>
                <a:gd name="connsiteX6" fmla="*/ 421298 w 628516"/>
                <a:gd name="connsiteY6" fmla="*/ 2270649 h 2486614"/>
                <a:gd name="connsiteX7" fmla="*/ 434081 w 628516"/>
                <a:gd name="connsiteY7" fmla="*/ 2486614 h 2486614"/>
                <a:gd name="connsiteX0" fmla="*/ 353387 w 547822"/>
                <a:gd name="connsiteY0" fmla="*/ 2486614 h 2486614"/>
                <a:gd name="connsiteX1" fmla="*/ 353387 w 547822"/>
                <a:gd name="connsiteY1" fmla="*/ 0 h 2486614"/>
                <a:gd name="connsiteX2" fmla="*/ 547822 w 547822"/>
                <a:gd name="connsiteY2" fmla="*/ 94863 h 2486614"/>
                <a:gd name="connsiteX3" fmla="*/ 535040 w 547822"/>
                <a:gd name="connsiteY3" fmla="*/ 310827 h 2486614"/>
                <a:gd name="connsiteX4" fmla="*/ 0 w 547822"/>
                <a:gd name="connsiteY4" fmla="*/ 1243307 h 2486614"/>
                <a:gd name="connsiteX5" fmla="*/ 535040 w 547822"/>
                <a:gd name="connsiteY5" fmla="*/ 2175787 h 2486614"/>
                <a:gd name="connsiteX6" fmla="*/ 340604 w 547822"/>
                <a:gd name="connsiteY6" fmla="*/ 2270649 h 2486614"/>
                <a:gd name="connsiteX7" fmla="*/ 353387 w 547822"/>
                <a:gd name="connsiteY7" fmla="*/ 2486614 h 2486614"/>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1477782 h 1477782"/>
                <a:gd name="connsiteX1" fmla="*/ 0 w 535040"/>
                <a:gd name="connsiteY1" fmla="*/ 234475 h 1477782"/>
                <a:gd name="connsiteX2" fmla="*/ 535040 w 535040"/>
                <a:gd name="connsiteY2" fmla="*/ 1166955 h 1477782"/>
                <a:gd name="connsiteX3" fmla="*/ 340604 w 535040"/>
                <a:gd name="connsiteY3" fmla="*/ 1261817 h 1477782"/>
                <a:gd name="connsiteX4" fmla="*/ 353387 w 535040"/>
                <a:gd name="connsiteY4" fmla="*/ 1477782 h 1477782"/>
                <a:gd name="connsiteX0" fmla="*/ 353387 w 535040"/>
                <a:gd name="connsiteY0" fmla="*/ 1332778 h 1332778"/>
                <a:gd name="connsiteX1" fmla="*/ 0 w 535040"/>
                <a:gd name="connsiteY1" fmla="*/ 89471 h 1332778"/>
                <a:gd name="connsiteX2" fmla="*/ 535040 w 535040"/>
                <a:gd name="connsiteY2" fmla="*/ 1021951 h 1332778"/>
                <a:gd name="connsiteX3" fmla="*/ 340604 w 535040"/>
                <a:gd name="connsiteY3" fmla="*/ 1116813 h 1332778"/>
                <a:gd name="connsiteX4" fmla="*/ 353387 w 535040"/>
                <a:gd name="connsiteY4" fmla="*/ 1332778 h 1332778"/>
                <a:gd name="connsiteX0" fmla="*/ 182310 w 363963"/>
                <a:gd name="connsiteY0" fmla="*/ 543055 h 543055"/>
                <a:gd name="connsiteX1" fmla="*/ 363963 w 363963"/>
                <a:gd name="connsiteY1" fmla="*/ 232228 h 543055"/>
                <a:gd name="connsiteX2" fmla="*/ 169527 w 363963"/>
                <a:gd name="connsiteY2" fmla="*/ 327090 h 543055"/>
                <a:gd name="connsiteX3" fmla="*/ 182310 w 363963"/>
                <a:gd name="connsiteY3" fmla="*/ 543055 h 543055"/>
                <a:gd name="connsiteX0" fmla="*/ 12783 w 194436"/>
                <a:gd name="connsiteY0" fmla="*/ 365461 h 365461"/>
                <a:gd name="connsiteX1" fmla="*/ 194436 w 194436"/>
                <a:gd name="connsiteY1" fmla="*/ 54634 h 365461"/>
                <a:gd name="connsiteX2" fmla="*/ 0 w 194436"/>
                <a:gd name="connsiteY2" fmla="*/ 149496 h 365461"/>
                <a:gd name="connsiteX3" fmla="*/ 12783 w 194436"/>
                <a:gd name="connsiteY3" fmla="*/ 365461 h 365461"/>
                <a:gd name="connsiteX0" fmla="*/ 12783 w 12783"/>
                <a:gd name="connsiteY0" fmla="*/ 215965 h 215965"/>
                <a:gd name="connsiteX1" fmla="*/ 0 w 12783"/>
                <a:gd name="connsiteY1" fmla="*/ 0 h 215965"/>
                <a:gd name="connsiteX2" fmla="*/ 12783 w 12783"/>
                <a:gd name="connsiteY2" fmla="*/ 215965 h 215965"/>
                <a:gd name="connsiteX0" fmla="*/ 12783 w 12783"/>
                <a:gd name="connsiteY0" fmla="*/ 215965 h 215965"/>
                <a:gd name="connsiteX1" fmla="*/ 0 w 12783"/>
                <a:gd name="connsiteY1" fmla="*/ 0 h 215965"/>
                <a:gd name="connsiteX2" fmla="*/ 12783 w 12783"/>
                <a:gd name="connsiteY2" fmla="*/ 215965 h 215965"/>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1 w 181651"/>
                <a:gd name="connsiteY0" fmla="*/ 0 h 310829"/>
                <a:gd name="connsiteX1" fmla="*/ 0 w 181651"/>
                <a:gd name="connsiteY1" fmla="*/ 310829 h 310829"/>
                <a:gd name="connsiteX0" fmla="*/ 535040 w 535040"/>
                <a:gd name="connsiteY0" fmla="*/ 932479 h 1243308"/>
                <a:gd name="connsiteX1" fmla="*/ 353389 w 535040"/>
                <a:gd name="connsiteY1" fmla="*/ 1243308 h 1243308"/>
                <a:gd name="connsiteX2" fmla="*/ 0 w 535040"/>
                <a:gd name="connsiteY2" fmla="*/ 0 h 1243308"/>
                <a:gd name="connsiteX0" fmla="*/ 535040 w 535040"/>
                <a:gd name="connsiteY0" fmla="*/ 1864959 h 2175788"/>
                <a:gd name="connsiteX1" fmla="*/ 353389 w 535040"/>
                <a:gd name="connsiteY1" fmla="*/ 2175788 h 2175788"/>
                <a:gd name="connsiteX2" fmla="*/ 0 w 535040"/>
                <a:gd name="connsiteY2" fmla="*/ 932480 h 2175788"/>
                <a:gd name="connsiteX3" fmla="*/ 535040 w 535040"/>
                <a:gd name="connsiteY3" fmla="*/ 0 h 2175788"/>
                <a:gd name="connsiteX0" fmla="*/ 535040 w 535040"/>
                <a:gd name="connsiteY0" fmla="*/ 1864959 h 1864959"/>
                <a:gd name="connsiteX1" fmla="*/ 0 w 535040"/>
                <a:gd name="connsiteY1" fmla="*/ 932480 h 1864959"/>
                <a:gd name="connsiteX2" fmla="*/ 535040 w 535040"/>
                <a:gd name="connsiteY2" fmla="*/ 0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7" fmla="*/ 525454 w 680867"/>
                <a:gd name="connsiteY7" fmla="*/ 1702988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7" fmla="*/ 525454 w 680867"/>
                <a:gd name="connsiteY7" fmla="*/ 1702988 h 1864959"/>
                <a:gd name="connsiteX8" fmla="*/ 535040 w 680867"/>
                <a:gd name="connsiteY8" fmla="*/ 1864959 h 1864959"/>
                <a:gd name="connsiteX0" fmla="*/ 325561 w 471388"/>
                <a:gd name="connsiteY0" fmla="*/ 1864959 h 1864959"/>
                <a:gd name="connsiteX1" fmla="*/ 325561 w 471388"/>
                <a:gd name="connsiteY1" fmla="*/ 0 h 1864959"/>
                <a:gd name="connsiteX2" fmla="*/ 471388 w 471388"/>
                <a:gd name="connsiteY2" fmla="*/ 71148 h 1864959"/>
                <a:gd name="connsiteX3" fmla="*/ 461801 w 471388"/>
                <a:gd name="connsiteY3" fmla="*/ 233121 h 1864959"/>
                <a:gd name="connsiteX4" fmla="*/ 60521 w 471388"/>
                <a:gd name="connsiteY4" fmla="*/ 932481 h 1864959"/>
                <a:gd name="connsiteX5" fmla="*/ 461801 w 471388"/>
                <a:gd name="connsiteY5" fmla="*/ 1631841 h 1864959"/>
                <a:gd name="connsiteX6" fmla="*/ 315975 w 471388"/>
                <a:gd name="connsiteY6" fmla="*/ 1702988 h 1864959"/>
                <a:gd name="connsiteX7" fmla="*/ 325561 w 471388"/>
                <a:gd name="connsiteY7" fmla="*/ 1864959 h 1864959"/>
                <a:gd name="connsiteX0" fmla="*/ 265040 w 410867"/>
                <a:gd name="connsiteY0" fmla="*/ 1864959 h 1864959"/>
                <a:gd name="connsiteX1" fmla="*/ 265040 w 410867"/>
                <a:gd name="connsiteY1" fmla="*/ 0 h 1864959"/>
                <a:gd name="connsiteX2" fmla="*/ 410867 w 410867"/>
                <a:gd name="connsiteY2" fmla="*/ 71148 h 1864959"/>
                <a:gd name="connsiteX3" fmla="*/ 401280 w 410867"/>
                <a:gd name="connsiteY3" fmla="*/ 233121 h 1864959"/>
                <a:gd name="connsiteX4" fmla="*/ 0 w 410867"/>
                <a:gd name="connsiteY4" fmla="*/ 932481 h 1864959"/>
                <a:gd name="connsiteX5" fmla="*/ 401280 w 410867"/>
                <a:gd name="connsiteY5" fmla="*/ 1631841 h 1864959"/>
                <a:gd name="connsiteX6" fmla="*/ 255454 w 410867"/>
                <a:gd name="connsiteY6" fmla="*/ 1702988 h 1864959"/>
                <a:gd name="connsiteX7" fmla="*/ 265040 w 410867"/>
                <a:gd name="connsiteY7" fmla="*/ 1864959 h 1864959"/>
                <a:gd name="connsiteX0" fmla="*/ 265040 w 410867"/>
                <a:gd name="connsiteY0" fmla="*/ 1793811 h 1793811"/>
                <a:gd name="connsiteX1" fmla="*/ 410867 w 410867"/>
                <a:gd name="connsiteY1" fmla="*/ 0 h 1793811"/>
                <a:gd name="connsiteX2" fmla="*/ 401280 w 410867"/>
                <a:gd name="connsiteY2" fmla="*/ 161973 h 1793811"/>
                <a:gd name="connsiteX3" fmla="*/ 0 w 410867"/>
                <a:gd name="connsiteY3" fmla="*/ 861333 h 1793811"/>
                <a:gd name="connsiteX4" fmla="*/ 401280 w 410867"/>
                <a:gd name="connsiteY4" fmla="*/ 1560693 h 1793811"/>
                <a:gd name="connsiteX5" fmla="*/ 255454 w 410867"/>
                <a:gd name="connsiteY5" fmla="*/ 1631840 h 1793811"/>
                <a:gd name="connsiteX6" fmla="*/ 265040 w 410867"/>
                <a:gd name="connsiteY6" fmla="*/ 1793811 h 1793811"/>
                <a:gd name="connsiteX0" fmla="*/ 265040 w 410867"/>
                <a:gd name="connsiteY0" fmla="*/ 1793811 h 1793811"/>
                <a:gd name="connsiteX1" fmla="*/ 410867 w 410867"/>
                <a:gd name="connsiteY1" fmla="*/ 0 h 1793811"/>
                <a:gd name="connsiteX2" fmla="*/ 401280 w 410867"/>
                <a:gd name="connsiteY2" fmla="*/ 161973 h 1793811"/>
                <a:gd name="connsiteX3" fmla="*/ 0 w 410867"/>
                <a:gd name="connsiteY3" fmla="*/ 861333 h 1793811"/>
                <a:gd name="connsiteX4" fmla="*/ 401280 w 410867"/>
                <a:gd name="connsiteY4" fmla="*/ 1560693 h 1793811"/>
                <a:gd name="connsiteX5" fmla="*/ 255454 w 410867"/>
                <a:gd name="connsiteY5" fmla="*/ 1631840 h 1793811"/>
                <a:gd name="connsiteX6" fmla="*/ 265040 w 410867"/>
                <a:gd name="connsiteY6" fmla="*/ 1793811 h 1793811"/>
                <a:gd name="connsiteX0" fmla="*/ 265040 w 401280"/>
                <a:gd name="connsiteY0" fmla="*/ 1631838 h 1631838"/>
                <a:gd name="connsiteX1" fmla="*/ 401280 w 401280"/>
                <a:gd name="connsiteY1" fmla="*/ 0 h 1631838"/>
                <a:gd name="connsiteX2" fmla="*/ 0 w 401280"/>
                <a:gd name="connsiteY2" fmla="*/ 699360 h 1631838"/>
                <a:gd name="connsiteX3" fmla="*/ 401280 w 401280"/>
                <a:gd name="connsiteY3" fmla="*/ 1398720 h 1631838"/>
                <a:gd name="connsiteX4" fmla="*/ 255454 w 401280"/>
                <a:gd name="connsiteY4" fmla="*/ 1469867 h 1631838"/>
                <a:gd name="connsiteX5" fmla="*/ 265040 w 401280"/>
                <a:gd name="connsiteY5" fmla="*/ 1631838 h 1631838"/>
                <a:gd name="connsiteX0" fmla="*/ 265040 w 401280"/>
                <a:gd name="connsiteY0" fmla="*/ 1631838 h 1631838"/>
                <a:gd name="connsiteX1" fmla="*/ 401280 w 401280"/>
                <a:gd name="connsiteY1" fmla="*/ 0 h 1631838"/>
                <a:gd name="connsiteX2" fmla="*/ 0 w 401280"/>
                <a:gd name="connsiteY2" fmla="*/ 699360 h 1631838"/>
                <a:gd name="connsiteX3" fmla="*/ 401280 w 401280"/>
                <a:gd name="connsiteY3" fmla="*/ 1398720 h 1631838"/>
                <a:gd name="connsiteX4" fmla="*/ 255454 w 401280"/>
                <a:gd name="connsiteY4" fmla="*/ 1469867 h 1631838"/>
                <a:gd name="connsiteX5" fmla="*/ 265040 w 401280"/>
                <a:gd name="connsiteY5" fmla="*/ 1631838 h 1631838"/>
                <a:gd name="connsiteX0" fmla="*/ 265040 w 401280"/>
                <a:gd name="connsiteY0" fmla="*/ 1108334 h 1108334"/>
                <a:gd name="connsiteX1" fmla="*/ 0 w 401280"/>
                <a:gd name="connsiteY1" fmla="*/ 175856 h 1108334"/>
                <a:gd name="connsiteX2" fmla="*/ 401280 w 401280"/>
                <a:gd name="connsiteY2" fmla="*/ 875216 h 1108334"/>
                <a:gd name="connsiteX3" fmla="*/ 255454 w 401280"/>
                <a:gd name="connsiteY3" fmla="*/ 946363 h 1108334"/>
                <a:gd name="connsiteX4" fmla="*/ 265040 w 401280"/>
                <a:gd name="connsiteY4" fmla="*/ 1108334 h 1108334"/>
                <a:gd name="connsiteX0" fmla="*/ 265040 w 401280"/>
                <a:gd name="connsiteY0" fmla="*/ 999581 h 999581"/>
                <a:gd name="connsiteX1" fmla="*/ 0 w 401280"/>
                <a:gd name="connsiteY1" fmla="*/ 67103 h 999581"/>
                <a:gd name="connsiteX2" fmla="*/ 401280 w 401280"/>
                <a:gd name="connsiteY2" fmla="*/ 766463 h 999581"/>
                <a:gd name="connsiteX3" fmla="*/ 255454 w 401280"/>
                <a:gd name="connsiteY3" fmla="*/ 837610 h 999581"/>
                <a:gd name="connsiteX4" fmla="*/ 265040 w 401280"/>
                <a:gd name="connsiteY4" fmla="*/ 999581 h 999581"/>
                <a:gd name="connsiteX0" fmla="*/ 136733 w 272973"/>
                <a:gd name="connsiteY0" fmla="*/ 407290 h 407290"/>
                <a:gd name="connsiteX1" fmla="*/ 272973 w 272973"/>
                <a:gd name="connsiteY1" fmla="*/ 174172 h 407290"/>
                <a:gd name="connsiteX2" fmla="*/ 127147 w 272973"/>
                <a:gd name="connsiteY2" fmla="*/ 245319 h 407290"/>
                <a:gd name="connsiteX3" fmla="*/ 136733 w 272973"/>
                <a:gd name="connsiteY3" fmla="*/ 407290 h 407290"/>
                <a:gd name="connsiteX0" fmla="*/ 9586 w 145826"/>
                <a:gd name="connsiteY0" fmla="*/ 274094 h 274094"/>
                <a:gd name="connsiteX1" fmla="*/ 145826 w 145826"/>
                <a:gd name="connsiteY1" fmla="*/ 40976 h 274094"/>
                <a:gd name="connsiteX2" fmla="*/ 0 w 145826"/>
                <a:gd name="connsiteY2" fmla="*/ 112123 h 274094"/>
                <a:gd name="connsiteX3" fmla="*/ 9586 w 145826"/>
                <a:gd name="connsiteY3" fmla="*/ 274094 h 274094"/>
                <a:gd name="connsiteX0" fmla="*/ 9586 w 9586"/>
                <a:gd name="connsiteY0" fmla="*/ 161971 h 161971"/>
                <a:gd name="connsiteX1" fmla="*/ 0 w 9586"/>
                <a:gd name="connsiteY1" fmla="*/ 0 h 161971"/>
                <a:gd name="connsiteX2" fmla="*/ 9586 w 9586"/>
                <a:gd name="connsiteY2" fmla="*/ 161971 h 161971"/>
                <a:gd name="connsiteX0" fmla="*/ 10000 w 10000"/>
                <a:gd name="connsiteY0" fmla="*/ 10000 h 10000"/>
                <a:gd name="connsiteX1" fmla="*/ 0 w 10000"/>
                <a:gd name="connsiteY1" fmla="*/ 0 h 10000"/>
                <a:gd name="connsiteX2" fmla="*/ 10000 w 10000"/>
                <a:gd name="connsiteY2" fmla="*/ 10000 h 1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830180 w 830180"/>
                <a:gd name="connsiteY0" fmla="*/ 109407 h 109407"/>
                <a:gd name="connsiteX1" fmla="*/ 0 w 830180"/>
                <a:gd name="connsiteY1" fmla="*/ 0 h 109407"/>
                <a:gd name="connsiteX0" fmla="*/ 830180 w 830180"/>
                <a:gd name="connsiteY0" fmla="*/ 109407 h 147519"/>
                <a:gd name="connsiteX1" fmla="*/ 0 w 830180"/>
                <a:gd name="connsiteY1" fmla="*/ 0 h 147519"/>
                <a:gd name="connsiteX2" fmla="*/ 544958 w 830180"/>
                <a:gd name="connsiteY2" fmla="*/ 147519 h 147519"/>
                <a:gd name="connsiteX0" fmla="*/ 1127001 w 1127001"/>
                <a:gd name="connsiteY0" fmla="*/ 365462 h 403574"/>
                <a:gd name="connsiteX1" fmla="*/ 296821 w 1127001"/>
                <a:gd name="connsiteY1" fmla="*/ 256055 h 403574"/>
                <a:gd name="connsiteX2" fmla="*/ 841779 w 1127001"/>
                <a:gd name="connsiteY2" fmla="*/ 403574 h 403574"/>
                <a:gd name="connsiteX3" fmla="*/ 0 w 1127001"/>
                <a:gd name="connsiteY3" fmla="*/ 0 h 403574"/>
                <a:gd name="connsiteX0" fmla="*/ 1127001 w 1127001"/>
                <a:gd name="connsiteY0" fmla="*/ 365462 h 403574"/>
                <a:gd name="connsiteX1" fmla="*/ 841779 w 1127001"/>
                <a:gd name="connsiteY1" fmla="*/ 403574 h 403574"/>
                <a:gd name="connsiteX2" fmla="*/ 0 w 1127001"/>
                <a:gd name="connsiteY2" fmla="*/ 0 h 403574"/>
                <a:gd name="connsiteX0" fmla="*/ 1127001 w 1127001"/>
                <a:gd name="connsiteY0" fmla="*/ 732029 h 770141"/>
                <a:gd name="connsiteX1" fmla="*/ 841779 w 1127001"/>
                <a:gd name="connsiteY1" fmla="*/ 770141 h 770141"/>
                <a:gd name="connsiteX2" fmla="*/ 0 w 1127001"/>
                <a:gd name="connsiteY2" fmla="*/ 366567 h 770141"/>
                <a:gd name="connsiteX3" fmla="*/ 134193 w 1127001"/>
                <a:gd name="connsiteY3" fmla="*/ 0 h 770141"/>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5" fmla="*/ 841780 w 1127001"/>
                <a:gd name="connsiteY5" fmla="*/ 139259 h 787258"/>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5" fmla="*/ 841780 w 1127001"/>
                <a:gd name="connsiteY5" fmla="*/ 139259 h 787258"/>
                <a:gd name="connsiteX6" fmla="*/ 923538 w 1127001"/>
                <a:gd name="connsiteY6" fmla="*/ 131523 h 787258"/>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5" fmla="*/ 841780 w 1127001"/>
                <a:gd name="connsiteY5" fmla="*/ 139259 h 787258"/>
                <a:gd name="connsiteX6" fmla="*/ 923538 w 1127001"/>
                <a:gd name="connsiteY6" fmla="*/ 131523 h 787258"/>
                <a:gd name="connsiteX7" fmla="*/ 819395 w 1127001"/>
                <a:gd name="connsiteY7" fmla="*/ 508156 h 787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7001" h="787258">
                  <a:moveTo>
                    <a:pt x="1127001" y="749146"/>
                  </a:moveTo>
                  <a:cubicBezTo>
                    <a:pt x="1036131" y="773992"/>
                    <a:pt x="940495" y="787258"/>
                    <a:pt x="841779" y="787258"/>
                  </a:cubicBezTo>
                  <a:cubicBezTo>
                    <a:pt x="501609" y="787258"/>
                    <a:pt x="198009" y="629727"/>
                    <a:pt x="0" y="383684"/>
                  </a:cubicBezTo>
                  <a:lnTo>
                    <a:pt x="134193" y="17117"/>
                  </a:lnTo>
                  <a:lnTo>
                    <a:pt x="524175" y="0"/>
                  </a:lnTo>
                  <a:cubicBezTo>
                    <a:pt x="603129" y="85610"/>
                    <a:pt x="716227" y="139259"/>
                    <a:pt x="841780" y="139259"/>
                  </a:cubicBezTo>
                  <a:cubicBezTo>
                    <a:pt x="869730" y="139259"/>
                    <a:pt x="897062" y="136601"/>
                    <a:pt x="923538" y="131523"/>
                  </a:cubicBezTo>
                  <a:lnTo>
                    <a:pt x="819395" y="50815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ihandform: Form 57">
              <a:extLst>
                <a:ext uri="{FF2B5EF4-FFF2-40B4-BE49-F238E27FC236}">
                  <a16:creationId xmlns:a16="http://schemas.microsoft.com/office/drawing/2014/main" id="{E3BABFCE-C86F-47B1-E2FE-20C626B83369}"/>
                </a:ext>
              </a:extLst>
            </p:cNvPr>
            <p:cNvSpPr/>
            <p:nvPr/>
          </p:nvSpPr>
          <p:spPr>
            <a:xfrm>
              <a:off x="3164091" y="2266782"/>
              <a:ext cx="704722" cy="1195247"/>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8" fmla="*/ 0 w 1624960"/>
                <a:gd name="connsiteY8" fmla="*/ 147520 h 1169999"/>
                <a:gd name="connsiteX0" fmla="*/ 0 w 1624960"/>
                <a:gd name="connsiteY0" fmla="*/ 26746 h 1049225"/>
                <a:gd name="connsiteX1" fmla="*/ 1624960 w 1624960"/>
                <a:gd name="connsiteY1" fmla="*/ 959226 h 1049225"/>
                <a:gd name="connsiteX2" fmla="*/ 1489960 w 1624960"/>
                <a:gd name="connsiteY2" fmla="*/ 1049225 h 1049225"/>
                <a:gd name="connsiteX3" fmla="*/ 1354960 w 1624960"/>
                <a:gd name="connsiteY3" fmla="*/ 959225 h 1049225"/>
                <a:gd name="connsiteX4" fmla="*/ 544960 w 1624960"/>
                <a:gd name="connsiteY4" fmla="*/ 149225 h 1049225"/>
                <a:gd name="connsiteX5" fmla="*/ 136240 w 1624960"/>
                <a:gd name="connsiteY5" fmla="*/ 259865 h 1049225"/>
                <a:gd name="connsiteX6" fmla="*/ 145827 w 1624960"/>
                <a:gd name="connsiteY6" fmla="*/ 97892 h 1049225"/>
                <a:gd name="connsiteX7" fmla="*/ 0 w 1624960"/>
                <a:gd name="connsiteY7" fmla="*/ 26746 h 1049225"/>
                <a:gd name="connsiteX0" fmla="*/ 0 w 1624960"/>
                <a:gd name="connsiteY0" fmla="*/ 0 h 1022479"/>
                <a:gd name="connsiteX1" fmla="*/ 1624960 w 1624960"/>
                <a:gd name="connsiteY1" fmla="*/ 932480 h 1022479"/>
                <a:gd name="connsiteX2" fmla="*/ 1489960 w 1624960"/>
                <a:gd name="connsiteY2" fmla="*/ 1022479 h 1022479"/>
                <a:gd name="connsiteX3" fmla="*/ 1354960 w 1624960"/>
                <a:gd name="connsiteY3" fmla="*/ 932479 h 1022479"/>
                <a:gd name="connsiteX4" fmla="*/ 544960 w 1624960"/>
                <a:gd name="connsiteY4" fmla="*/ 122479 h 1022479"/>
                <a:gd name="connsiteX5" fmla="*/ 136240 w 1624960"/>
                <a:gd name="connsiteY5" fmla="*/ 233119 h 1022479"/>
                <a:gd name="connsiteX6" fmla="*/ 145827 w 1624960"/>
                <a:gd name="connsiteY6" fmla="*/ 71146 h 1022479"/>
                <a:gd name="connsiteX7" fmla="*/ 0 w 1624960"/>
                <a:gd name="connsiteY7"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820023"/>
                <a:gd name="connsiteY0" fmla="*/ 0 h 271021"/>
                <a:gd name="connsiteX1" fmla="*/ 544960 w 820023"/>
                <a:gd name="connsiteY1" fmla="*/ 122479 h 271021"/>
                <a:gd name="connsiteX2" fmla="*/ 136240 w 820023"/>
                <a:gd name="connsiteY2" fmla="*/ 233119 h 271021"/>
                <a:gd name="connsiteX3" fmla="*/ 145827 w 820023"/>
                <a:gd name="connsiteY3" fmla="*/ 71146 h 271021"/>
                <a:gd name="connsiteX4" fmla="*/ 0 w 820023"/>
                <a:gd name="connsiteY4" fmla="*/ 0 h 271021"/>
                <a:gd name="connsiteX0" fmla="*/ 0 w 687966"/>
                <a:gd name="connsiteY0" fmla="*/ 0 h 233119"/>
                <a:gd name="connsiteX1" fmla="*/ 544960 w 687966"/>
                <a:gd name="connsiteY1" fmla="*/ 122479 h 233119"/>
                <a:gd name="connsiteX2" fmla="*/ 136240 w 687966"/>
                <a:gd name="connsiteY2" fmla="*/ 233119 h 233119"/>
                <a:gd name="connsiteX3" fmla="*/ 145827 w 687966"/>
                <a:gd name="connsiteY3" fmla="*/ 71146 h 233119"/>
                <a:gd name="connsiteX4" fmla="*/ 0 w 687966"/>
                <a:gd name="connsiteY4" fmla="*/ 0 h 233119"/>
                <a:gd name="connsiteX0" fmla="*/ 0 w 261592"/>
                <a:gd name="connsiteY0" fmla="*/ 0 h 233119"/>
                <a:gd name="connsiteX1" fmla="*/ 136240 w 261592"/>
                <a:gd name="connsiteY1" fmla="*/ 233119 h 233119"/>
                <a:gd name="connsiteX2" fmla="*/ 145827 w 261592"/>
                <a:gd name="connsiteY2" fmla="*/ 71146 h 233119"/>
                <a:gd name="connsiteX3" fmla="*/ 0 w 261592"/>
                <a:gd name="connsiteY3" fmla="*/ 0 h 233119"/>
                <a:gd name="connsiteX0" fmla="*/ 0 w 175353"/>
                <a:gd name="connsiteY0" fmla="*/ 0 h 233119"/>
                <a:gd name="connsiteX1" fmla="*/ 136240 w 175353"/>
                <a:gd name="connsiteY1" fmla="*/ 233119 h 233119"/>
                <a:gd name="connsiteX2" fmla="*/ 145827 w 175353"/>
                <a:gd name="connsiteY2" fmla="*/ 71146 h 233119"/>
                <a:gd name="connsiteX3" fmla="*/ 0 w 175353"/>
                <a:gd name="connsiteY3" fmla="*/ 0 h 233119"/>
                <a:gd name="connsiteX0" fmla="*/ 0 w 145827"/>
                <a:gd name="connsiteY0" fmla="*/ 0 h 71146"/>
                <a:gd name="connsiteX1" fmla="*/ 145827 w 145827"/>
                <a:gd name="connsiteY1" fmla="*/ 71146 h 71146"/>
                <a:gd name="connsiteX2" fmla="*/ 0 w 145827"/>
                <a:gd name="connsiteY2" fmla="*/ 0 h 71146"/>
                <a:gd name="connsiteX0" fmla="*/ 0 w 145827"/>
                <a:gd name="connsiteY0" fmla="*/ 0 h 71146"/>
                <a:gd name="connsiteX1" fmla="*/ 145827 w 145827"/>
                <a:gd name="connsiteY1" fmla="*/ 71146 h 71146"/>
                <a:gd name="connsiteX2" fmla="*/ 0 w 145827"/>
                <a:gd name="connsiteY2" fmla="*/ 0 h 71146"/>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54589"/>
                <a:gd name="connsiteY0" fmla="*/ 1530103 h 1530103"/>
                <a:gd name="connsiteX1" fmla="*/ 354589 w 354589"/>
                <a:gd name="connsiteY1" fmla="*/ 0 h 1530103"/>
                <a:gd name="connsiteX0" fmla="*/ 180448 w 535037"/>
                <a:gd name="connsiteY0" fmla="*/ 1530103 h 1530103"/>
                <a:gd name="connsiteX1" fmla="*/ 535037 w 535037"/>
                <a:gd name="connsiteY1" fmla="*/ 0 h 1530103"/>
                <a:gd name="connsiteX2" fmla="*/ 0 w 535037"/>
                <a:gd name="connsiteY2" fmla="*/ 932479 h 1530103"/>
                <a:gd name="connsiteX0" fmla="*/ 180448 w 535037"/>
                <a:gd name="connsiteY0" fmla="*/ 1530103 h 1530103"/>
                <a:gd name="connsiteX1" fmla="*/ 535037 w 535037"/>
                <a:gd name="connsiteY1" fmla="*/ 0 h 1530103"/>
                <a:gd name="connsiteX2" fmla="*/ 0 w 535037"/>
                <a:gd name="connsiteY2" fmla="*/ 932479 h 1530103"/>
                <a:gd name="connsiteX3" fmla="*/ 180449 w 535037"/>
                <a:gd name="connsiteY3" fmla="*/ 334856 h 1530103"/>
                <a:gd name="connsiteX0" fmla="*/ 180448 w 180449"/>
                <a:gd name="connsiteY0" fmla="*/ 1195247 h 1195247"/>
                <a:gd name="connsiteX1" fmla="*/ 0 w 180449"/>
                <a:gd name="connsiteY1" fmla="*/ 597623 h 1195247"/>
                <a:gd name="connsiteX2" fmla="*/ 180449 w 180449"/>
                <a:gd name="connsiteY2" fmla="*/ 0 h 1195247"/>
                <a:gd name="connsiteX0" fmla="*/ 180448 w 570448"/>
                <a:gd name="connsiteY0" fmla="*/ 1195247 h 1195247"/>
                <a:gd name="connsiteX1" fmla="*/ 0 w 570448"/>
                <a:gd name="connsiteY1" fmla="*/ 597623 h 1195247"/>
                <a:gd name="connsiteX2" fmla="*/ 180449 w 570448"/>
                <a:gd name="connsiteY2" fmla="*/ 0 h 1195247"/>
                <a:gd name="connsiteX3" fmla="*/ 570448 w 570448"/>
                <a:gd name="connsiteY3" fmla="*/ 17035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4722" h="1195247">
                  <a:moveTo>
                    <a:pt x="180448" y="1195247"/>
                  </a:moveTo>
                  <a:cubicBezTo>
                    <a:pt x="66453" y="1024073"/>
                    <a:pt x="0" y="818561"/>
                    <a:pt x="0" y="597623"/>
                  </a:cubicBezTo>
                  <a:cubicBezTo>
                    <a:pt x="0" y="376685"/>
                    <a:pt x="66453" y="171174"/>
                    <a:pt x="180449" y="0"/>
                  </a:cubicBezTo>
                  <a:lnTo>
                    <a:pt x="570448" y="17035"/>
                  </a:lnTo>
                  <a:lnTo>
                    <a:pt x="704722" y="383586"/>
                  </a:lnTo>
                  <a:cubicBezTo>
                    <a:pt x="668631" y="446694"/>
                    <a:pt x="647999" y="519764"/>
                    <a:pt x="647999" y="597623"/>
                  </a:cubicBezTo>
                  <a:cubicBezTo>
                    <a:pt x="647999" y="675483"/>
                    <a:pt x="668631" y="748553"/>
                    <a:pt x="704722" y="811661"/>
                  </a:cubicBezTo>
                  <a:lnTo>
                    <a:pt x="314723" y="82869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reihandform: Form 62">
              <a:extLst>
                <a:ext uri="{FF2B5EF4-FFF2-40B4-BE49-F238E27FC236}">
                  <a16:creationId xmlns:a16="http://schemas.microsoft.com/office/drawing/2014/main" id="{FBCDD315-AD45-2D3B-6594-F9A5749269F2}"/>
                </a:ext>
              </a:extLst>
            </p:cNvPr>
            <p:cNvSpPr/>
            <p:nvPr/>
          </p:nvSpPr>
          <p:spPr>
            <a:xfrm>
              <a:off x="3402311" y="1784406"/>
              <a:ext cx="1238063" cy="787260"/>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8" fmla="*/ 0 w 1624960"/>
                <a:gd name="connsiteY8" fmla="*/ 147520 h 1169999"/>
                <a:gd name="connsiteX0" fmla="*/ 0 w 1624960"/>
                <a:gd name="connsiteY0" fmla="*/ 26746 h 1049225"/>
                <a:gd name="connsiteX1" fmla="*/ 1624960 w 1624960"/>
                <a:gd name="connsiteY1" fmla="*/ 959226 h 1049225"/>
                <a:gd name="connsiteX2" fmla="*/ 1489960 w 1624960"/>
                <a:gd name="connsiteY2" fmla="*/ 1049225 h 1049225"/>
                <a:gd name="connsiteX3" fmla="*/ 1354960 w 1624960"/>
                <a:gd name="connsiteY3" fmla="*/ 959225 h 1049225"/>
                <a:gd name="connsiteX4" fmla="*/ 544960 w 1624960"/>
                <a:gd name="connsiteY4" fmla="*/ 149225 h 1049225"/>
                <a:gd name="connsiteX5" fmla="*/ 136240 w 1624960"/>
                <a:gd name="connsiteY5" fmla="*/ 259865 h 1049225"/>
                <a:gd name="connsiteX6" fmla="*/ 145827 w 1624960"/>
                <a:gd name="connsiteY6" fmla="*/ 97892 h 1049225"/>
                <a:gd name="connsiteX7" fmla="*/ 0 w 1624960"/>
                <a:gd name="connsiteY7" fmla="*/ 26746 h 1049225"/>
                <a:gd name="connsiteX0" fmla="*/ 0 w 1624960"/>
                <a:gd name="connsiteY0" fmla="*/ 0 h 1022479"/>
                <a:gd name="connsiteX1" fmla="*/ 1624960 w 1624960"/>
                <a:gd name="connsiteY1" fmla="*/ 932480 h 1022479"/>
                <a:gd name="connsiteX2" fmla="*/ 1489960 w 1624960"/>
                <a:gd name="connsiteY2" fmla="*/ 1022479 h 1022479"/>
                <a:gd name="connsiteX3" fmla="*/ 1354960 w 1624960"/>
                <a:gd name="connsiteY3" fmla="*/ 932479 h 1022479"/>
                <a:gd name="connsiteX4" fmla="*/ 544960 w 1624960"/>
                <a:gd name="connsiteY4" fmla="*/ 122479 h 1022479"/>
                <a:gd name="connsiteX5" fmla="*/ 136240 w 1624960"/>
                <a:gd name="connsiteY5" fmla="*/ 233119 h 1022479"/>
                <a:gd name="connsiteX6" fmla="*/ 145827 w 1624960"/>
                <a:gd name="connsiteY6" fmla="*/ 71146 h 1022479"/>
                <a:gd name="connsiteX7" fmla="*/ 0 w 1624960"/>
                <a:gd name="connsiteY7"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820023"/>
                <a:gd name="connsiteY0" fmla="*/ 0 h 271021"/>
                <a:gd name="connsiteX1" fmla="*/ 544960 w 820023"/>
                <a:gd name="connsiteY1" fmla="*/ 122479 h 271021"/>
                <a:gd name="connsiteX2" fmla="*/ 136240 w 820023"/>
                <a:gd name="connsiteY2" fmla="*/ 233119 h 271021"/>
                <a:gd name="connsiteX3" fmla="*/ 145827 w 820023"/>
                <a:gd name="connsiteY3" fmla="*/ 71146 h 271021"/>
                <a:gd name="connsiteX4" fmla="*/ 0 w 820023"/>
                <a:gd name="connsiteY4" fmla="*/ 0 h 271021"/>
                <a:gd name="connsiteX0" fmla="*/ 0 w 687966"/>
                <a:gd name="connsiteY0" fmla="*/ 0 h 233119"/>
                <a:gd name="connsiteX1" fmla="*/ 544960 w 687966"/>
                <a:gd name="connsiteY1" fmla="*/ 122479 h 233119"/>
                <a:gd name="connsiteX2" fmla="*/ 136240 w 687966"/>
                <a:gd name="connsiteY2" fmla="*/ 233119 h 233119"/>
                <a:gd name="connsiteX3" fmla="*/ 145827 w 687966"/>
                <a:gd name="connsiteY3" fmla="*/ 71146 h 233119"/>
                <a:gd name="connsiteX4" fmla="*/ 0 w 687966"/>
                <a:gd name="connsiteY4" fmla="*/ 0 h 233119"/>
                <a:gd name="connsiteX0" fmla="*/ 0 w 261592"/>
                <a:gd name="connsiteY0" fmla="*/ 0 h 233119"/>
                <a:gd name="connsiteX1" fmla="*/ 136240 w 261592"/>
                <a:gd name="connsiteY1" fmla="*/ 233119 h 233119"/>
                <a:gd name="connsiteX2" fmla="*/ 145827 w 261592"/>
                <a:gd name="connsiteY2" fmla="*/ 71146 h 233119"/>
                <a:gd name="connsiteX3" fmla="*/ 0 w 261592"/>
                <a:gd name="connsiteY3" fmla="*/ 0 h 233119"/>
                <a:gd name="connsiteX0" fmla="*/ 0 w 175353"/>
                <a:gd name="connsiteY0" fmla="*/ 0 h 233119"/>
                <a:gd name="connsiteX1" fmla="*/ 136240 w 175353"/>
                <a:gd name="connsiteY1" fmla="*/ 233119 h 233119"/>
                <a:gd name="connsiteX2" fmla="*/ 145827 w 175353"/>
                <a:gd name="connsiteY2" fmla="*/ 71146 h 233119"/>
                <a:gd name="connsiteX3" fmla="*/ 0 w 175353"/>
                <a:gd name="connsiteY3" fmla="*/ 0 h 233119"/>
                <a:gd name="connsiteX0" fmla="*/ 0 w 145827"/>
                <a:gd name="connsiteY0" fmla="*/ 0 h 71146"/>
                <a:gd name="connsiteX1" fmla="*/ 145827 w 145827"/>
                <a:gd name="connsiteY1" fmla="*/ 71146 h 71146"/>
                <a:gd name="connsiteX2" fmla="*/ 0 w 145827"/>
                <a:gd name="connsiteY2" fmla="*/ 0 h 71146"/>
                <a:gd name="connsiteX0" fmla="*/ 0 w 145827"/>
                <a:gd name="connsiteY0" fmla="*/ 0 h 71146"/>
                <a:gd name="connsiteX1" fmla="*/ 145827 w 145827"/>
                <a:gd name="connsiteY1" fmla="*/ 71146 h 71146"/>
                <a:gd name="connsiteX2" fmla="*/ 0 w 145827"/>
                <a:gd name="connsiteY2" fmla="*/ 0 h 71146"/>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54589"/>
                <a:gd name="connsiteY0" fmla="*/ 1530103 h 1530103"/>
                <a:gd name="connsiteX1" fmla="*/ 354589 w 354589"/>
                <a:gd name="connsiteY1" fmla="*/ 0 h 1530103"/>
                <a:gd name="connsiteX0" fmla="*/ 180448 w 535037"/>
                <a:gd name="connsiteY0" fmla="*/ 1530103 h 1530103"/>
                <a:gd name="connsiteX1" fmla="*/ 535037 w 535037"/>
                <a:gd name="connsiteY1" fmla="*/ 0 h 1530103"/>
                <a:gd name="connsiteX2" fmla="*/ 0 w 535037"/>
                <a:gd name="connsiteY2" fmla="*/ 932479 h 1530103"/>
                <a:gd name="connsiteX0" fmla="*/ 180448 w 535037"/>
                <a:gd name="connsiteY0" fmla="*/ 1530103 h 1530103"/>
                <a:gd name="connsiteX1" fmla="*/ 535037 w 535037"/>
                <a:gd name="connsiteY1" fmla="*/ 0 h 1530103"/>
                <a:gd name="connsiteX2" fmla="*/ 0 w 535037"/>
                <a:gd name="connsiteY2" fmla="*/ 932479 h 1530103"/>
                <a:gd name="connsiteX3" fmla="*/ 180449 w 535037"/>
                <a:gd name="connsiteY3" fmla="*/ 334856 h 1530103"/>
                <a:gd name="connsiteX0" fmla="*/ 180448 w 180449"/>
                <a:gd name="connsiteY0" fmla="*/ 1195247 h 1195247"/>
                <a:gd name="connsiteX1" fmla="*/ 0 w 180449"/>
                <a:gd name="connsiteY1" fmla="*/ 597623 h 1195247"/>
                <a:gd name="connsiteX2" fmla="*/ 180449 w 180449"/>
                <a:gd name="connsiteY2" fmla="*/ 0 h 1195247"/>
                <a:gd name="connsiteX0" fmla="*/ 180448 w 570448"/>
                <a:gd name="connsiteY0" fmla="*/ 1195247 h 1195247"/>
                <a:gd name="connsiteX1" fmla="*/ 0 w 570448"/>
                <a:gd name="connsiteY1" fmla="*/ 597623 h 1195247"/>
                <a:gd name="connsiteX2" fmla="*/ 180449 w 570448"/>
                <a:gd name="connsiteY2" fmla="*/ 0 h 1195247"/>
                <a:gd name="connsiteX3" fmla="*/ 570448 w 570448"/>
                <a:gd name="connsiteY3" fmla="*/ 17035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8" fmla="*/ 180448 w 704722"/>
                <a:gd name="connsiteY8" fmla="*/ 1195247 h 1195247"/>
                <a:gd name="connsiteX0" fmla="*/ 111789 w 636063"/>
                <a:gd name="connsiteY0" fmla="*/ 1195247 h 1195247"/>
                <a:gd name="connsiteX1" fmla="*/ 111790 w 636063"/>
                <a:gd name="connsiteY1" fmla="*/ 0 h 1195247"/>
                <a:gd name="connsiteX2" fmla="*/ 501789 w 636063"/>
                <a:gd name="connsiteY2" fmla="*/ 17035 h 1195247"/>
                <a:gd name="connsiteX3" fmla="*/ 636063 w 636063"/>
                <a:gd name="connsiteY3" fmla="*/ 383586 h 1195247"/>
                <a:gd name="connsiteX4" fmla="*/ 579340 w 636063"/>
                <a:gd name="connsiteY4" fmla="*/ 597623 h 1195247"/>
                <a:gd name="connsiteX5" fmla="*/ 636063 w 636063"/>
                <a:gd name="connsiteY5" fmla="*/ 811661 h 1195247"/>
                <a:gd name="connsiteX6" fmla="*/ 246064 w 636063"/>
                <a:gd name="connsiteY6" fmla="*/ 828696 h 1195247"/>
                <a:gd name="connsiteX7" fmla="*/ 111789 w 636063"/>
                <a:gd name="connsiteY7" fmla="*/ 1195247 h 1195247"/>
                <a:gd name="connsiteX0" fmla="*/ 50665 w 574939"/>
                <a:gd name="connsiteY0" fmla="*/ 1195247 h 1195247"/>
                <a:gd name="connsiteX1" fmla="*/ 50666 w 574939"/>
                <a:gd name="connsiteY1" fmla="*/ 0 h 1195247"/>
                <a:gd name="connsiteX2" fmla="*/ 440665 w 574939"/>
                <a:gd name="connsiteY2" fmla="*/ 17035 h 1195247"/>
                <a:gd name="connsiteX3" fmla="*/ 574939 w 574939"/>
                <a:gd name="connsiteY3" fmla="*/ 383586 h 1195247"/>
                <a:gd name="connsiteX4" fmla="*/ 518216 w 574939"/>
                <a:gd name="connsiteY4" fmla="*/ 597623 h 1195247"/>
                <a:gd name="connsiteX5" fmla="*/ 574939 w 574939"/>
                <a:gd name="connsiteY5" fmla="*/ 811661 h 1195247"/>
                <a:gd name="connsiteX6" fmla="*/ 184940 w 574939"/>
                <a:gd name="connsiteY6" fmla="*/ 828696 h 1195247"/>
                <a:gd name="connsiteX7" fmla="*/ 50665 w 574939"/>
                <a:gd name="connsiteY7" fmla="*/ 1195247 h 1195247"/>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636563 h 636563"/>
                <a:gd name="connsiteX1" fmla="*/ 467551 w 524274"/>
                <a:gd name="connsiteY1" fmla="*/ 38939 h 636563"/>
                <a:gd name="connsiteX2" fmla="*/ 524274 w 524274"/>
                <a:gd name="connsiteY2" fmla="*/ 252977 h 636563"/>
                <a:gd name="connsiteX3" fmla="*/ 134275 w 524274"/>
                <a:gd name="connsiteY3" fmla="*/ 270012 h 636563"/>
                <a:gd name="connsiteX4" fmla="*/ 0 w 524274"/>
                <a:gd name="connsiteY4" fmla="*/ 636563 h 636563"/>
                <a:gd name="connsiteX0" fmla="*/ 0 w 524274"/>
                <a:gd name="connsiteY0" fmla="*/ 607990 h 607990"/>
                <a:gd name="connsiteX1" fmla="*/ 467551 w 524274"/>
                <a:gd name="connsiteY1" fmla="*/ 10366 h 607990"/>
                <a:gd name="connsiteX2" fmla="*/ 524274 w 524274"/>
                <a:gd name="connsiteY2" fmla="*/ 224404 h 607990"/>
                <a:gd name="connsiteX3" fmla="*/ 134275 w 524274"/>
                <a:gd name="connsiteY3" fmla="*/ 241439 h 607990"/>
                <a:gd name="connsiteX4" fmla="*/ 0 w 524274"/>
                <a:gd name="connsiteY4" fmla="*/ 607990 h 607990"/>
                <a:gd name="connsiteX0" fmla="*/ 0 w 524274"/>
                <a:gd name="connsiteY0" fmla="*/ 427719 h 427719"/>
                <a:gd name="connsiteX1" fmla="*/ 524274 w 524274"/>
                <a:gd name="connsiteY1" fmla="*/ 44133 h 427719"/>
                <a:gd name="connsiteX2" fmla="*/ 134275 w 524274"/>
                <a:gd name="connsiteY2" fmla="*/ 61168 h 427719"/>
                <a:gd name="connsiteX3" fmla="*/ 0 w 524274"/>
                <a:gd name="connsiteY3" fmla="*/ 427719 h 427719"/>
                <a:gd name="connsiteX0" fmla="*/ 0 w 524274"/>
                <a:gd name="connsiteY0" fmla="*/ 393389 h 393389"/>
                <a:gd name="connsiteX1" fmla="*/ 524274 w 524274"/>
                <a:gd name="connsiteY1" fmla="*/ 9803 h 393389"/>
                <a:gd name="connsiteX2" fmla="*/ 134275 w 524274"/>
                <a:gd name="connsiteY2" fmla="*/ 26838 h 393389"/>
                <a:gd name="connsiteX3" fmla="*/ 0 w 524274"/>
                <a:gd name="connsiteY3" fmla="*/ 393389 h 393389"/>
                <a:gd name="connsiteX0" fmla="*/ 0 w 134275"/>
                <a:gd name="connsiteY0" fmla="*/ 366551 h 366551"/>
                <a:gd name="connsiteX1" fmla="*/ 134275 w 134275"/>
                <a:gd name="connsiteY1" fmla="*/ 0 h 366551"/>
                <a:gd name="connsiteX2" fmla="*/ 0 w 134275"/>
                <a:gd name="connsiteY2" fmla="*/ 366551 h 366551"/>
                <a:gd name="connsiteX0" fmla="*/ 0 w 134275"/>
                <a:gd name="connsiteY0" fmla="*/ 366551 h 366551"/>
                <a:gd name="connsiteX1" fmla="*/ 134275 w 134275"/>
                <a:gd name="connsiteY1" fmla="*/ 0 h 366551"/>
                <a:gd name="connsiteX2" fmla="*/ 0 w 134275"/>
                <a:gd name="connsiteY2" fmla="*/ 366551 h 366551"/>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94628"/>
                <a:gd name="connsiteY0" fmla="*/ 0 h 1426452"/>
                <a:gd name="connsiteX1" fmla="*/ 94628 w 94628"/>
                <a:gd name="connsiteY1" fmla="*/ 1426452 h 1426452"/>
                <a:gd name="connsiteX0" fmla="*/ 0 w 841779"/>
                <a:gd name="connsiteY0" fmla="*/ 403575 h 1830027"/>
                <a:gd name="connsiteX1" fmla="*/ 94628 w 841779"/>
                <a:gd name="connsiteY1" fmla="*/ 1830027 h 1830027"/>
                <a:gd name="connsiteX2" fmla="*/ 841779 w 841779"/>
                <a:gd name="connsiteY2" fmla="*/ 0 h 1830027"/>
                <a:gd name="connsiteX0" fmla="*/ 0 w 1135245"/>
                <a:gd name="connsiteY0" fmla="*/ 403575 h 1830027"/>
                <a:gd name="connsiteX1" fmla="*/ 94628 w 1135245"/>
                <a:gd name="connsiteY1" fmla="*/ 1830027 h 1830027"/>
                <a:gd name="connsiteX2" fmla="*/ 841779 w 1135245"/>
                <a:gd name="connsiteY2" fmla="*/ 0 h 1830027"/>
                <a:gd name="connsiteX3" fmla="*/ 1135245 w 1135245"/>
                <a:gd name="connsiteY3" fmla="*/ 40403 h 1830027"/>
                <a:gd name="connsiteX0" fmla="*/ 0 w 1135245"/>
                <a:gd name="connsiteY0" fmla="*/ 403575 h 403575"/>
                <a:gd name="connsiteX1" fmla="*/ 841779 w 1135245"/>
                <a:gd name="connsiteY1" fmla="*/ 0 h 403575"/>
                <a:gd name="connsiteX2" fmla="*/ 1135245 w 1135245"/>
                <a:gd name="connsiteY2" fmla="*/ 40403 h 403575"/>
                <a:gd name="connsiteX0" fmla="*/ 0 w 1238063"/>
                <a:gd name="connsiteY0" fmla="*/ 403575 h 417172"/>
                <a:gd name="connsiteX1" fmla="*/ 841779 w 1238063"/>
                <a:gd name="connsiteY1" fmla="*/ 0 h 417172"/>
                <a:gd name="connsiteX2" fmla="*/ 1135245 w 1238063"/>
                <a:gd name="connsiteY2" fmla="*/ 40403 h 417172"/>
                <a:gd name="connsiteX3" fmla="*/ 1238063 w 1238063"/>
                <a:gd name="connsiteY3" fmla="*/ 417172 h 417172"/>
                <a:gd name="connsiteX0" fmla="*/ 0 w 1238063"/>
                <a:gd name="connsiteY0" fmla="*/ 403575 h 656991"/>
                <a:gd name="connsiteX1" fmla="*/ 841779 w 1238063"/>
                <a:gd name="connsiteY1" fmla="*/ 0 h 656991"/>
                <a:gd name="connsiteX2" fmla="*/ 1135245 w 1238063"/>
                <a:gd name="connsiteY2" fmla="*/ 40403 h 656991"/>
                <a:gd name="connsiteX3" fmla="*/ 1238063 w 1238063"/>
                <a:gd name="connsiteY3" fmla="*/ 417172 h 656991"/>
                <a:gd name="connsiteX4" fmla="*/ 929821 w 1238063"/>
                <a:gd name="connsiteY4" fmla="*/ 656991 h 656991"/>
                <a:gd name="connsiteX0" fmla="*/ 0 w 1238063"/>
                <a:gd name="connsiteY0" fmla="*/ 403575 h 656991"/>
                <a:gd name="connsiteX1" fmla="*/ 841779 w 1238063"/>
                <a:gd name="connsiteY1" fmla="*/ 0 h 656991"/>
                <a:gd name="connsiteX2" fmla="*/ 1135245 w 1238063"/>
                <a:gd name="connsiteY2" fmla="*/ 40403 h 656991"/>
                <a:gd name="connsiteX3" fmla="*/ 1238063 w 1238063"/>
                <a:gd name="connsiteY3" fmla="*/ 417172 h 656991"/>
                <a:gd name="connsiteX4" fmla="*/ 929821 w 1238063"/>
                <a:gd name="connsiteY4" fmla="*/ 656991 h 656991"/>
                <a:gd name="connsiteX5" fmla="*/ 841779 w 1238063"/>
                <a:gd name="connsiteY5" fmla="*/ 648000 h 656991"/>
                <a:gd name="connsiteX0" fmla="*/ 0 w 1238063"/>
                <a:gd name="connsiteY0" fmla="*/ 403575 h 787260"/>
                <a:gd name="connsiteX1" fmla="*/ 841779 w 1238063"/>
                <a:gd name="connsiteY1" fmla="*/ 0 h 787260"/>
                <a:gd name="connsiteX2" fmla="*/ 1135245 w 1238063"/>
                <a:gd name="connsiteY2" fmla="*/ 40403 h 787260"/>
                <a:gd name="connsiteX3" fmla="*/ 1238063 w 1238063"/>
                <a:gd name="connsiteY3" fmla="*/ 417172 h 787260"/>
                <a:gd name="connsiteX4" fmla="*/ 929821 w 1238063"/>
                <a:gd name="connsiteY4" fmla="*/ 656991 h 787260"/>
                <a:gd name="connsiteX5" fmla="*/ 841779 w 1238063"/>
                <a:gd name="connsiteY5" fmla="*/ 648000 h 787260"/>
                <a:gd name="connsiteX6" fmla="*/ 524174 w 1238063"/>
                <a:gd name="connsiteY6" fmla="*/ 787260 h 787260"/>
                <a:gd name="connsiteX0" fmla="*/ 0 w 1238063"/>
                <a:gd name="connsiteY0" fmla="*/ 403575 h 787260"/>
                <a:gd name="connsiteX1" fmla="*/ 841779 w 1238063"/>
                <a:gd name="connsiteY1" fmla="*/ 0 h 787260"/>
                <a:gd name="connsiteX2" fmla="*/ 1135245 w 1238063"/>
                <a:gd name="connsiteY2" fmla="*/ 40403 h 787260"/>
                <a:gd name="connsiteX3" fmla="*/ 1238063 w 1238063"/>
                <a:gd name="connsiteY3" fmla="*/ 417172 h 787260"/>
                <a:gd name="connsiteX4" fmla="*/ 929821 w 1238063"/>
                <a:gd name="connsiteY4" fmla="*/ 656991 h 787260"/>
                <a:gd name="connsiteX5" fmla="*/ 841779 w 1238063"/>
                <a:gd name="connsiteY5" fmla="*/ 648000 h 787260"/>
                <a:gd name="connsiteX6" fmla="*/ 524174 w 1238063"/>
                <a:gd name="connsiteY6" fmla="*/ 787260 h 787260"/>
                <a:gd name="connsiteX7" fmla="*/ 389982 w 1238063"/>
                <a:gd name="connsiteY7" fmla="*/ 420691 h 78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063" h="787260">
                  <a:moveTo>
                    <a:pt x="0" y="403575"/>
                  </a:moveTo>
                  <a:cubicBezTo>
                    <a:pt x="198009" y="157532"/>
                    <a:pt x="501609" y="0"/>
                    <a:pt x="841779" y="0"/>
                  </a:cubicBezTo>
                  <a:cubicBezTo>
                    <a:pt x="943485" y="1"/>
                    <a:pt x="1041922" y="14084"/>
                    <a:pt x="1135245" y="40403"/>
                  </a:cubicBezTo>
                  <a:lnTo>
                    <a:pt x="1238063" y="417172"/>
                  </a:lnTo>
                  <a:lnTo>
                    <a:pt x="929821" y="656991"/>
                  </a:lnTo>
                  <a:cubicBezTo>
                    <a:pt x="901393" y="651098"/>
                    <a:pt x="871946" y="648000"/>
                    <a:pt x="841779" y="648000"/>
                  </a:cubicBezTo>
                  <a:cubicBezTo>
                    <a:pt x="716226" y="648000"/>
                    <a:pt x="603128" y="701650"/>
                    <a:pt x="524174" y="787260"/>
                  </a:cubicBezTo>
                  <a:lnTo>
                    <a:pt x="389982" y="420691"/>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Freihandform: Form 63">
              <a:extLst>
                <a:ext uri="{FF2B5EF4-FFF2-40B4-BE49-F238E27FC236}">
                  <a16:creationId xmlns:a16="http://schemas.microsoft.com/office/drawing/2014/main" id="{DA3B9B7A-1C08-7552-897E-546703B92142}"/>
                </a:ext>
              </a:extLst>
            </p:cNvPr>
            <p:cNvSpPr/>
            <p:nvPr/>
          </p:nvSpPr>
          <p:spPr>
            <a:xfrm>
              <a:off x="4426624" y="1856304"/>
              <a:ext cx="896310" cy="1175828"/>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8" fmla="*/ 0 w 1624960"/>
                <a:gd name="connsiteY8" fmla="*/ 147520 h 1169999"/>
                <a:gd name="connsiteX0" fmla="*/ 0 w 1624960"/>
                <a:gd name="connsiteY0" fmla="*/ 26746 h 1049225"/>
                <a:gd name="connsiteX1" fmla="*/ 1624960 w 1624960"/>
                <a:gd name="connsiteY1" fmla="*/ 959226 h 1049225"/>
                <a:gd name="connsiteX2" fmla="*/ 1489960 w 1624960"/>
                <a:gd name="connsiteY2" fmla="*/ 1049225 h 1049225"/>
                <a:gd name="connsiteX3" fmla="*/ 1354960 w 1624960"/>
                <a:gd name="connsiteY3" fmla="*/ 959225 h 1049225"/>
                <a:gd name="connsiteX4" fmla="*/ 544960 w 1624960"/>
                <a:gd name="connsiteY4" fmla="*/ 149225 h 1049225"/>
                <a:gd name="connsiteX5" fmla="*/ 136240 w 1624960"/>
                <a:gd name="connsiteY5" fmla="*/ 259865 h 1049225"/>
                <a:gd name="connsiteX6" fmla="*/ 145827 w 1624960"/>
                <a:gd name="connsiteY6" fmla="*/ 97892 h 1049225"/>
                <a:gd name="connsiteX7" fmla="*/ 0 w 1624960"/>
                <a:gd name="connsiteY7" fmla="*/ 26746 h 1049225"/>
                <a:gd name="connsiteX0" fmla="*/ 0 w 1624960"/>
                <a:gd name="connsiteY0" fmla="*/ 0 h 1022479"/>
                <a:gd name="connsiteX1" fmla="*/ 1624960 w 1624960"/>
                <a:gd name="connsiteY1" fmla="*/ 932480 h 1022479"/>
                <a:gd name="connsiteX2" fmla="*/ 1489960 w 1624960"/>
                <a:gd name="connsiteY2" fmla="*/ 1022479 h 1022479"/>
                <a:gd name="connsiteX3" fmla="*/ 1354960 w 1624960"/>
                <a:gd name="connsiteY3" fmla="*/ 932479 h 1022479"/>
                <a:gd name="connsiteX4" fmla="*/ 544960 w 1624960"/>
                <a:gd name="connsiteY4" fmla="*/ 122479 h 1022479"/>
                <a:gd name="connsiteX5" fmla="*/ 136240 w 1624960"/>
                <a:gd name="connsiteY5" fmla="*/ 233119 h 1022479"/>
                <a:gd name="connsiteX6" fmla="*/ 145827 w 1624960"/>
                <a:gd name="connsiteY6" fmla="*/ 71146 h 1022479"/>
                <a:gd name="connsiteX7" fmla="*/ 0 w 1624960"/>
                <a:gd name="connsiteY7"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820023"/>
                <a:gd name="connsiteY0" fmla="*/ 0 h 271021"/>
                <a:gd name="connsiteX1" fmla="*/ 544960 w 820023"/>
                <a:gd name="connsiteY1" fmla="*/ 122479 h 271021"/>
                <a:gd name="connsiteX2" fmla="*/ 136240 w 820023"/>
                <a:gd name="connsiteY2" fmla="*/ 233119 h 271021"/>
                <a:gd name="connsiteX3" fmla="*/ 145827 w 820023"/>
                <a:gd name="connsiteY3" fmla="*/ 71146 h 271021"/>
                <a:gd name="connsiteX4" fmla="*/ 0 w 820023"/>
                <a:gd name="connsiteY4" fmla="*/ 0 h 271021"/>
                <a:gd name="connsiteX0" fmla="*/ 0 w 687966"/>
                <a:gd name="connsiteY0" fmla="*/ 0 h 233119"/>
                <a:gd name="connsiteX1" fmla="*/ 544960 w 687966"/>
                <a:gd name="connsiteY1" fmla="*/ 122479 h 233119"/>
                <a:gd name="connsiteX2" fmla="*/ 136240 w 687966"/>
                <a:gd name="connsiteY2" fmla="*/ 233119 h 233119"/>
                <a:gd name="connsiteX3" fmla="*/ 145827 w 687966"/>
                <a:gd name="connsiteY3" fmla="*/ 71146 h 233119"/>
                <a:gd name="connsiteX4" fmla="*/ 0 w 687966"/>
                <a:gd name="connsiteY4" fmla="*/ 0 h 233119"/>
                <a:gd name="connsiteX0" fmla="*/ 0 w 261592"/>
                <a:gd name="connsiteY0" fmla="*/ 0 h 233119"/>
                <a:gd name="connsiteX1" fmla="*/ 136240 w 261592"/>
                <a:gd name="connsiteY1" fmla="*/ 233119 h 233119"/>
                <a:gd name="connsiteX2" fmla="*/ 145827 w 261592"/>
                <a:gd name="connsiteY2" fmla="*/ 71146 h 233119"/>
                <a:gd name="connsiteX3" fmla="*/ 0 w 261592"/>
                <a:gd name="connsiteY3" fmla="*/ 0 h 233119"/>
                <a:gd name="connsiteX0" fmla="*/ 0 w 175353"/>
                <a:gd name="connsiteY0" fmla="*/ 0 h 233119"/>
                <a:gd name="connsiteX1" fmla="*/ 136240 w 175353"/>
                <a:gd name="connsiteY1" fmla="*/ 233119 h 233119"/>
                <a:gd name="connsiteX2" fmla="*/ 145827 w 175353"/>
                <a:gd name="connsiteY2" fmla="*/ 71146 h 233119"/>
                <a:gd name="connsiteX3" fmla="*/ 0 w 175353"/>
                <a:gd name="connsiteY3" fmla="*/ 0 h 233119"/>
                <a:gd name="connsiteX0" fmla="*/ 0 w 145827"/>
                <a:gd name="connsiteY0" fmla="*/ 0 h 71146"/>
                <a:gd name="connsiteX1" fmla="*/ 145827 w 145827"/>
                <a:gd name="connsiteY1" fmla="*/ 71146 h 71146"/>
                <a:gd name="connsiteX2" fmla="*/ 0 w 145827"/>
                <a:gd name="connsiteY2" fmla="*/ 0 h 71146"/>
                <a:gd name="connsiteX0" fmla="*/ 0 w 145827"/>
                <a:gd name="connsiteY0" fmla="*/ 0 h 71146"/>
                <a:gd name="connsiteX1" fmla="*/ 145827 w 145827"/>
                <a:gd name="connsiteY1" fmla="*/ 71146 h 71146"/>
                <a:gd name="connsiteX2" fmla="*/ 0 w 145827"/>
                <a:gd name="connsiteY2" fmla="*/ 0 h 71146"/>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54589"/>
                <a:gd name="connsiteY0" fmla="*/ 1530103 h 1530103"/>
                <a:gd name="connsiteX1" fmla="*/ 354589 w 354589"/>
                <a:gd name="connsiteY1" fmla="*/ 0 h 1530103"/>
                <a:gd name="connsiteX0" fmla="*/ 180448 w 535037"/>
                <a:gd name="connsiteY0" fmla="*/ 1530103 h 1530103"/>
                <a:gd name="connsiteX1" fmla="*/ 535037 w 535037"/>
                <a:gd name="connsiteY1" fmla="*/ 0 h 1530103"/>
                <a:gd name="connsiteX2" fmla="*/ 0 w 535037"/>
                <a:gd name="connsiteY2" fmla="*/ 932479 h 1530103"/>
                <a:gd name="connsiteX0" fmla="*/ 180448 w 535037"/>
                <a:gd name="connsiteY0" fmla="*/ 1530103 h 1530103"/>
                <a:gd name="connsiteX1" fmla="*/ 535037 w 535037"/>
                <a:gd name="connsiteY1" fmla="*/ 0 h 1530103"/>
                <a:gd name="connsiteX2" fmla="*/ 0 w 535037"/>
                <a:gd name="connsiteY2" fmla="*/ 932479 h 1530103"/>
                <a:gd name="connsiteX3" fmla="*/ 180449 w 535037"/>
                <a:gd name="connsiteY3" fmla="*/ 334856 h 1530103"/>
                <a:gd name="connsiteX0" fmla="*/ 180448 w 180449"/>
                <a:gd name="connsiteY0" fmla="*/ 1195247 h 1195247"/>
                <a:gd name="connsiteX1" fmla="*/ 0 w 180449"/>
                <a:gd name="connsiteY1" fmla="*/ 597623 h 1195247"/>
                <a:gd name="connsiteX2" fmla="*/ 180449 w 180449"/>
                <a:gd name="connsiteY2" fmla="*/ 0 h 1195247"/>
                <a:gd name="connsiteX0" fmla="*/ 180448 w 570448"/>
                <a:gd name="connsiteY0" fmla="*/ 1195247 h 1195247"/>
                <a:gd name="connsiteX1" fmla="*/ 0 w 570448"/>
                <a:gd name="connsiteY1" fmla="*/ 597623 h 1195247"/>
                <a:gd name="connsiteX2" fmla="*/ 180449 w 570448"/>
                <a:gd name="connsiteY2" fmla="*/ 0 h 1195247"/>
                <a:gd name="connsiteX3" fmla="*/ 570448 w 570448"/>
                <a:gd name="connsiteY3" fmla="*/ 17035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8" fmla="*/ 180448 w 704722"/>
                <a:gd name="connsiteY8" fmla="*/ 1195247 h 1195247"/>
                <a:gd name="connsiteX0" fmla="*/ 111789 w 636063"/>
                <a:gd name="connsiteY0" fmla="*/ 1195247 h 1195247"/>
                <a:gd name="connsiteX1" fmla="*/ 111790 w 636063"/>
                <a:gd name="connsiteY1" fmla="*/ 0 h 1195247"/>
                <a:gd name="connsiteX2" fmla="*/ 501789 w 636063"/>
                <a:gd name="connsiteY2" fmla="*/ 17035 h 1195247"/>
                <a:gd name="connsiteX3" fmla="*/ 636063 w 636063"/>
                <a:gd name="connsiteY3" fmla="*/ 383586 h 1195247"/>
                <a:gd name="connsiteX4" fmla="*/ 579340 w 636063"/>
                <a:gd name="connsiteY4" fmla="*/ 597623 h 1195247"/>
                <a:gd name="connsiteX5" fmla="*/ 636063 w 636063"/>
                <a:gd name="connsiteY5" fmla="*/ 811661 h 1195247"/>
                <a:gd name="connsiteX6" fmla="*/ 246064 w 636063"/>
                <a:gd name="connsiteY6" fmla="*/ 828696 h 1195247"/>
                <a:gd name="connsiteX7" fmla="*/ 111789 w 636063"/>
                <a:gd name="connsiteY7" fmla="*/ 1195247 h 1195247"/>
                <a:gd name="connsiteX0" fmla="*/ 50665 w 574939"/>
                <a:gd name="connsiteY0" fmla="*/ 1195247 h 1195247"/>
                <a:gd name="connsiteX1" fmla="*/ 50666 w 574939"/>
                <a:gd name="connsiteY1" fmla="*/ 0 h 1195247"/>
                <a:gd name="connsiteX2" fmla="*/ 440665 w 574939"/>
                <a:gd name="connsiteY2" fmla="*/ 17035 h 1195247"/>
                <a:gd name="connsiteX3" fmla="*/ 574939 w 574939"/>
                <a:gd name="connsiteY3" fmla="*/ 383586 h 1195247"/>
                <a:gd name="connsiteX4" fmla="*/ 518216 w 574939"/>
                <a:gd name="connsiteY4" fmla="*/ 597623 h 1195247"/>
                <a:gd name="connsiteX5" fmla="*/ 574939 w 574939"/>
                <a:gd name="connsiteY5" fmla="*/ 811661 h 1195247"/>
                <a:gd name="connsiteX6" fmla="*/ 184940 w 574939"/>
                <a:gd name="connsiteY6" fmla="*/ 828696 h 1195247"/>
                <a:gd name="connsiteX7" fmla="*/ 50665 w 574939"/>
                <a:gd name="connsiteY7" fmla="*/ 1195247 h 1195247"/>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636563 h 636563"/>
                <a:gd name="connsiteX1" fmla="*/ 467551 w 524274"/>
                <a:gd name="connsiteY1" fmla="*/ 38939 h 636563"/>
                <a:gd name="connsiteX2" fmla="*/ 524274 w 524274"/>
                <a:gd name="connsiteY2" fmla="*/ 252977 h 636563"/>
                <a:gd name="connsiteX3" fmla="*/ 134275 w 524274"/>
                <a:gd name="connsiteY3" fmla="*/ 270012 h 636563"/>
                <a:gd name="connsiteX4" fmla="*/ 0 w 524274"/>
                <a:gd name="connsiteY4" fmla="*/ 636563 h 636563"/>
                <a:gd name="connsiteX0" fmla="*/ 0 w 524274"/>
                <a:gd name="connsiteY0" fmla="*/ 607990 h 607990"/>
                <a:gd name="connsiteX1" fmla="*/ 467551 w 524274"/>
                <a:gd name="connsiteY1" fmla="*/ 10366 h 607990"/>
                <a:gd name="connsiteX2" fmla="*/ 524274 w 524274"/>
                <a:gd name="connsiteY2" fmla="*/ 224404 h 607990"/>
                <a:gd name="connsiteX3" fmla="*/ 134275 w 524274"/>
                <a:gd name="connsiteY3" fmla="*/ 241439 h 607990"/>
                <a:gd name="connsiteX4" fmla="*/ 0 w 524274"/>
                <a:gd name="connsiteY4" fmla="*/ 607990 h 607990"/>
                <a:gd name="connsiteX0" fmla="*/ 0 w 524274"/>
                <a:gd name="connsiteY0" fmla="*/ 427719 h 427719"/>
                <a:gd name="connsiteX1" fmla="*/ 524274 w 524274"/>
                <a:gd name="connsiteY1" fmla="*/ 44133 h 427719"/>
                <a:gd name="connsiteX2" fmla="*/ 134275 w 524274"/>
                <a:gd name="connsiteY2" fmla="*/ 61168 h 427719"/>
                <a:gd name="connsiteX3" fmla="*/ 0 w 524274"/>
                <a:gd name="connsiteY3" fmla="*/ 427719 h 427719"/>
                <a:gd name="connsiteX0" fmla="*/ 0 w 524274"/>
                <a:gd name="connsiteY0" fmla="*/ 393389 h 393389"/>
                <a:gd name="connsiteX1" fmla="*/ 524274 w 524274"/>
                <a:gd name="connsiteY1" fmla="*/ 9803 h 393389"/>
                <a:gd name="connsiteX2" fmla="*/ 134275 w 524274"/>
                <a:gd name="connsiteY2" fmla="*/ 26838 h 393389"/>
                <a:gd name="connsiteX3" fmla="*/ 0 w 524274"/>
                <a:gd name="connsiteY3" fmla="*/ 393389 h 393389"/>
                <a:gd name="connsiteX0" fmla="*/ 0 w 134275"/>
                <a:gd name="connsiteY0" fmla="*/ 366551 h 366551"/>
                <a:gd name="connsiteX1" fmla="*/ 134275 w 134275"/>
                <a:gd name="connsiteY1" fmla="*/ 0 h 366551"/>
                <a:gd name="connsiteX2" fmla="*/ 0 w 134275"/>
                <a:gd name="connsiteY2" fmla="*/ 366551 h 366551"/>
                <a:gd name="connsiteX0" fmla="*/ 0 w 134275"/>
                <a:gd name="connsiteY0" fmla="*/ 366551 h 366551"/>
                <a:gd name="connsiteX1" fmla="*/ 134275 w 134275"/>
                <a:gd name="connsiteY1" fmla="*/ 0 h 366551"/>
                <a:gd name="connsiteX2" fmla="*/ 0 w 134275"/>
                <a:gd name="connsiteY2" fmla="*/ 366551 h 366551"/>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135208 w 1135208"/>
                <a:gd name="connsiteY0" fmla="*/ 0 h 1758127"/>
                <a:gd name="connsiteX1" fmla="*/ 0 w 1135208"/>
                <a:gd name="connsiteY1" fmla="*/ 1758127 h 1758127"/>
                <a:gd name="connsiteX0" fmla="*/ 1135208 w 1825995"/>
                <a:gd name="connsiteY0" fmla="*/ 0 h 1758127"/>
                <a:gd name="connsiteX1" fmla="*/ 0 w 1825995"/>
                <a:gd name="connsiteY1" fmla="*/ 1758127 h 1758127"/>
                <a:gd name="connsiteX2" fmla="*/ 1825995 w 1825995"/>
                <a:gd name="connsiteY2" fmla="*/ 957734 h 1758127"/>
                <a:gd name="connsiteX0" fmla="*/ 0 w 690787"/>
                <a:gd name="connsiteY0" fmla="*/ 0 h 957734"/>
                <a:gd name="connsiteX1" fmla="*/ 690787 w 690787"/>
                <a:gd name="connsiteY1" fmla="*/ 957734 h 957734"/>
                <a:gd name="connsiteX0" fmla="*/ 0 w 690787"/>
                <a:gd name="connsiteY0" fmla="*/ 0 h 1175828"/>
                <a:gd name="connsiteX1" fmla="*/ 690787 w 690787"/>
                <a:gd name="connsiteY1" fmla="*/ 957734 h 1175828"/>
                <a:gd name="connsiteX2" fmla="*/ 367182 w 690787"/>
                <a:gd name="connsiteY2" fmla="*/ 1175828 h 1175828"/>
                <a:gd name="connsiteX0" fmla="*/ 0 w 690787"/>
                <a:gd name="connsiteY0" fmla="*/ 0 h 1175828"/>
                <a:gd name="connsiteX1" fmla="*/ 690787 w 690787"/>
                <a:gd name="connsiteY1" fmla="*/ 957734 h 1175828"/>
                <a:gd name="connsiteX2" fmla="*/ 367182 w 690787"/>
                <a:gd name="connsiteY2" fmla="*/ 1175828 h 1175828"/>
                <a:gd name="connsiteX3" fmla="*/ 41401 w 690787"/>
                <a:gd name="connsiteY3" fmla="*/ 960998 h 1175828"/>
                <a:gd name="connsiteX0" fmla="*/ 205523 w 896310"/>
                <a:gd name="connsiteY0" fmla="*/ 0 h 1175828"/>
                <a:gd name="connsiteX1" fmla="*/ 896310 w 896310"/>
                <a:gd name="connsiteY1" fmla="*/ 957734 h 1175828"/>
                <a:gd name="connsiteX2" fmla="*/ 572705 w 896310"/>
                <a:gd name="connsiteY2" fmla="*/ 1175828 h 1175828"/>
                <a:gd name="connsiteX3" fmla="*/ 246924 w 896310"/>
                <a:gd name="connsiteY3" fmla="*/ 960998 h 1175828"/>
                <a:gd name="connsiteX4" fmla="*/ 0 w 896310"/>
                <a:gd name="connsiteY4" fmla="*/ 616491 h 1175828"/>
                <a:gd name="connsiteX0" fmla="*/ 205523 w 896310"/>
                <a:gd name="connsiteY0" fmla="*/ 0 h 1175828"/>
                <a:gd name="connsiteX1" fmla="*/ 896310 w 896310"/>
                <a:gd name="connsiteY1" fmla="*/ 957734 h 1175828"/>
                <a:gd name="connsiteX2" fmla="*/ 572705 w 896310"/>
                <a:gd name="connsiteY2" fmla="*/ 1175828 h 1175828"/>
                <a:gd name="connsiteX3" fmla="*/ 246924 w 896310"/>
                <a:gd name="connsiteY3" fmla="*/ 960998 h 1175828"/>
                <a:gd name="connsiteX4" fmla="*/ 0 w 896310"/>
                <a:gd name="connsiteY4" fmla="*/ 616491 h 1175828"/>
                <a:gd name="connsiteX5" fmla="*/ 308258 w 896310"/>
                <a:gd name="connsiteY5" fmla="*/ 376753 h 1175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310" h="1175828">
                  <a:moveTo>
                    <a:pt x="205523" y="0"/>
                  </a:moveTo>
                  <a:cubicBezTo>
                    <a:pt x="595279" y="150264"/>
                    <a:pt x="876191" y="520157"/>
                    <a:pt x="896310" y="957734"/>
                  </a:cubicBezTo>
                  <a:lnTo>
                    <a:pt x="572705" y="1175828"/>
                  </a:lnTo>
                  <a:lnTo>
                    <a:pt x="246924" y="960998"/>
                  </a:lnTo>
                  <a:cubicBezTo>
                    <a:pt x="230316" y="808063"/>
                    <a:pt x="133782" y="679001"/>
                    <a:pt x="0" y="616491"/>
                  </a:cubicBezTo>
                  <a:lnTo>
                    <a:pt x="308258" y="376753"/>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7" name="Grafik 66">
            <a:extLst>
              <a:ext uri="{FF2B5EF4-FFF2-40B4-BE49-F238E27FC236}">
                <a16:creationId xmlns:a16="http://schemas.microsoft.com/office/drawing/2014/main" id="{9B1C8AB1-DE8B-6111-1B50-28BD3804FCAB}"/>
              </a:ext>
            </a:extLst>
          </p:cNvPr>
          <p:cNvPicPr>
            <a:picLocks noChangeAspect="1"/>
          </p:cNvPicPr>
          <p:nvPr/>
        </p:nvPicPr>
        <p:blipFill>
          <a:blip r:embed="rId12"/>
          <a:stretch>
            <a:fillRect/>
          </a:stretch>
        </p:blipFill>
        <p:spPr>
          <a:xfrm>
            <a:off x="3256224" y="4671279"/>
            <a:ext cx="2078411" cy="1402152"/>
          </a:xfrm>
          <a:prstGeom prst="rect">
            <a:avLst/>
          </a:prstGeom>
        </p:spPr>
      </p:pic>
      <p:pic>
        <p:nvPicPr>
          <p:cNvPr id="69" name="Grafik 68">
            <a:extLst>
              <a:ext uri="{FF2B5EF4-FFF2-40B4-BE49-F238E27FC236}">
                <a16:creationId xmlns:a16="http://schemas.microsoft.com/office/drawing/2014/main" id="{0190AD07-BD16-88FB-19BE-B06B73DB59A6}"/>
              </a:ext>
            </a:extLst>
          </p:cNvPr>
          <p:cNvPicPr>
            <a:picLocks noChangeAspect="1"/>
          </p:cNvPicPr>
          <p:nvPr/>
        </p:nvPicPr>
        <p:blipFill>
          <a:blip r:embed="rId13"/>
          <a:stretch>
            <a:fillRect/>
          </a:stretch>
        </p:blipFill>
        <p:spPr>
          <a:xfrm>
            <a:off x="693795" y="3814607"/>
            <a:ext cx="3652728" cy="538712"/>
          </a:xfrm>
          <a:prstGeom prst="rect">
            <a:avLst/>
          </a:prstGeom>
        </p:spPr>
      </p:pic>
      <p:sp>
        <p:nvSpPr>
          <p:cNvPr id="70" name="Textfeld 69">
            <a:extLst>
              <a:ext uri="{FF2B5EF4-FFF2-40B4-BE49-F238E27FC236}">
                <a16:creationId xmlns:a16="http://schemas.microsoft.com/office/drawing/2014/main" id="{5ABCC66C-3522-4574-EBBA-5BBE359E3F8A}"/>
              </a:ext>
            </a:extLst>
          </p:cNvPr>
          <p:cNvSpPr txBox="1"/>
          <p:nvPr/>
        </p:nvSpPr>
        <p:spPr>
          <a:xfrm>
            <a:off x="917970" y="5006114"/>
            <a:ext cx="2338254" cy="646331"/>
          </a:xfrm>
          <a:prstGeom prst="rect">
            <a:avLst/>
          </a:prstGeom>
          <a:noFill/>
        </p:spPr>
        <p:txBody>
          <a:bodyPr wrap="square" rtlCol="0">
            <a:spAutoFit/>
          </a:bodyPr>
          <a:lstStyle/>
          <a:p>
            <a:r>
              <a:rPr lang="de-DE" dirty="0"/>
              <a:t>Bearbeitung von Kreissegmenten</a:t>
            </a:r>
          </a:p>
        </p:txBody>
      </p:sp>
      <p:pic>
        <p:nvPicPr>
          <p:cNvPr id="104" name="Grafik 103">
            <a:extLst>
              <a:ext uri="{FF2B5EF4-FFF2-40B4-BE49-F238E27FC236}">
                <a16:creationId xmlns:a16="http://schemas.microsoft.com/office/drawing/2014/main" id="{CAAC1947-5C4C-25A0-3B91-E975499B6CEF}"/>
              </a:ext>
            </a:extLst>
          </p:cNvPr>
          <p:cNvPicPr>
            <a:picLocks noChangeAspect="1"/>
          </p:cNvPicPr>
          <p:nvPr/>
        </p:nvPicPr>
        <p:blipFill>
          <a:blip r:embed="rId14"/>
          <a:stretch>
            <a:fillRect/>
          </a:stretch>
        </p:blipFill>
        <p:spPr>
          <a:xfrm>
            <a:off x="6650412" y="3814607"/>
            <a:ext cx="3692803" cy="430031"/>
          </a:xfrm>
          <a:prstGeom prst="rect">
            <a:avLst/>
          </a:prstGeom>
        </p:spPr>
      </p:pic>
      <p:pic>
        <p:nvPicPr>
          <p:cNvPr id="121" name="Grafik 120">
            <a:extLst>
              <a:ext uri="{FF2B5EF4-FFF2-40B4-BE49-F238E27FC236}">
                <a16:creationId xmlns:a16="http://schemas.microsoft.com/office/drawing/2014/main" id="{41736675-C33E-F775-2CC2-F0875E4D6E83}"/>
              </a:ext>
            </a:extLst>
          </p:cNvPr>
          <p:cNvPicPr>
            <a:picLocks noChangeAspect="1"/>
          </p:cNvPicPr>
          <p:nvPr/>
        </p:nvPicPr>
        <p:blipFill>
          <a:blip r:embed="rId15"/>
          <a:stretch>
            <a:fillRect/>
          </a:stretch>
        </p:blipFill>
        <p:spPr>
          <a:xfrm>
            <a:off x="6522259" y="4649679"/>
            <a:ext cx="2199820" cy="1402152"/>
          </a:xfrm>
          <a:prstGeom prst="rect">
            <a:avLst/>
          </a:prstGeom>
        </p:spPr>
      </p:pic>
      <p:sp>
        <p:nvSpPr>
          <p:cNvPr id="122" name="Textfeld 121">
            <a:extLst>
              <a:ext uri="{FF2B5EF4-FFF2-40B4-BE49-F238E27FC236}">
                <a16:creationId xmlns:a16="http://schemas.microsoft.com/office/drawing/2014/main" id="{75FC6873-601F-6833-9626-39E0BC7CD28D}"/>
              </a:ext>
            </a:extLst>
          </p:cNvPr>
          <p:cNvSpPr txBox="1"/>
          <p:nvPr/>
        </p:nvSpPr>
        <p:spPr>
          <a:xfrm>
            <a:off x="9004324" y="5006114"/>
            <a:ext cx="2338254" cy="646331"/>
          </a:xfrm>
          <a:prstGeom prst="rect">
            <a:avLst/>
          </a:prstGeom>
          <a:noFill/>
        </p:spPr>
        <p:txBody>
          <a:bodyPr wrap="square" rtlCol="0">
            <a:spAutoFit/>
          </a:bodyPr>
          <a:lstStyle/>
          <a:p>
            <a:r>
              <a:rPr lang="de-DE" dirty="0"/>
              <a:t>Bearbeitung von Prozessen</a:t>
            </a:r>
          </a:p>
        </p:txBody>
      </p:sp>
      <p:sp>
        <p:nvSpPr>
          <p:cNvPr id="131" name="Rechteck 130">
            <a:extLst>
              <a:ext uri="{FF2B5EF4-FFF2-40B4-BE49-F238E27FC236}">
                <a16:creationId xmlns:a16="http://schemas.microsoft.com/office/drawing/2014/main" id="{500D1058-3CAF-656F-3957-CB9A888566AB}"/>
              </a:ext>
            </a:extLst>
          </p:cNvPr>
          <p:cNvSpPr/>
          <p:nvPr/>
        </p:nvSpPr>
        <p:spPr>
          <a:xfrm>
            <a:off x="2113730" y="4041455"/>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2" name="Rechteck 131">
            <a:extLst>
              <a:ext uri="{FF2B5EF4-FFF2-40B4-BE49-F238E27FC236}">
                <a16:creationId xmlns:a16="http://schemas.microsoft.com/office/drawing/2014/main" id="{F7652506-5990-60B1-C03C-EE5DE1C2830F}"/>
              </a:ext>
            </a:extLst>
          </p:cNvPr>
          <p:cNvSpPr/>
          <p:nvPr/>
        </p:nvSpPr>
        <p:spPr>
          <a:xfrm>
            <a:off x="3611447" y="5797094"/>
            <a:ext cx="512558" cy="17946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45" name="Gruppieren 144">
            <a:extLst>
              <a:ext uri="{FF2B5EF4-FFF2-40B4-BE49-F238E27FC236}">
                <a16:creationId xmlns:a16="http://schemas.microsoft.com/office/drawing/2014/main" id="{A9510CDB-B169-D913-94A2-31B68837BF62}"/>
              </a:ext>
            </a:extLst>
          </p:cNvPr>
          <p:cNvGrpSpPr/>
          <p:nvPr/>
        </p:nvGrpSpPr>
        <p:grpSpPr>
          <a:xfrm>
            <a:off x="6504857" y="1879286"/>
            <a:ext cx="1912551" cy="973160"/>
            <a:chOff x="5703358" y="2146946"/>
            <a:chExt cx="3577199" cy="1820180"/>
          </a:xfrm>
        </p:grpSpPr>
        <p:grpSp>
          <p:nvGrpSpPr>
            <p:cNvPr id="133" name="[BKT] Process 80">
              <a:extLst>
                <a:ext uri="{FF2B5EF4-FFF2-40B4-BE49-F238E27FC236}">
                  <a16:creationId xmlns:a16="http://schemas.microsoft.com/office/drawing/2014/main" id="{4DB9AF81-F64E-3F76-0E30-8E4A4F8C6D1C}"/>
                </a:ext>
              </a:extLst>
            </p:cNvPr>
            <p:cNvGrpSpPr/>
            <p:nvPr>
              <p:custDataLst>
                <p:tags r:id="rId6"/>
              </p:custDataLst>
            </p:nvPr>
          </p:nvGrpSpPr>
          <p:grpSpPr>
            <a:xfrm>
              <a:off x="5703358" y="2146946"/>
              <a:ext cx="3577199" cy="613701"/>
              <a:chOff x="838200" y="1825625"/>
              <a:chExt cx="10515597" cy="720000"/>
            </a:xfrm>
          </p:grpSpPr>
          <p:sp>
            <p:nvSpPr>
              <p:cNvPr id="134" name="Pfeil: Fünfeck 133">
                <a:extLst>
                  <a:ext uri="{FF2B5EF4-FFF2-40B4-BE49-F238E27FC236}">
                    <a16:creationId xmlns:a16="http://schemas.microsoft.com/office/drawing/2014/main" id="{87192E95-DBD1-A42E-FE7E-197F5D0F7A50}"/>
                  </a:ext>
                </a:extLst>
              </p:cNvPr>
              <p:cNvSpPr/>
              <p:nvPr/>
            </p:nvSpPr>
            <p:spPr>
              <a:xfrm>
                <a:off x="838200" y="1825625"/>
                <a:ext cx="3577197" cy="720000"/>
              </a:xfrm>
              <a:prstGeom prst="homePlate">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Pfeil: Chevron 134">
                <a:extLst>
                  <a:ext uri="{FF2B5EF4-FFF2-40B4-BE49-F238E27FC236}">
                    <a16:creationId xmlns:a16="http://schemas.microsoft.com/office/drawing/2014/main" id="{7C35C6DA-A3F0-B260-CBED-E3AC1B8F2826}"/>
                  </a:ext>
                </a:extLst>
              </p:cNvPr>
              <p:cNvSpPr/>
              <p:nvPr/>
            </p:nvSpPr>
            <p:spPr>
              <a:xfrm>
                <a:off x="4307399" y="1825625"/>
                <a:ext cx="3577197" cy="720000"/>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6" name="Pfeil: Chevron 135">
                <a:extLst>
                  <a:ext uri="{FF2B5EF4-FFF2-40B4-BE49-F238E27FC236}">
                    <a16:creationId xmlns:a16="http://schemas.microsoft.com/office/drawing/2014/main" id="{05EA655C-46D9-4E81-7958-D8308BA12AE9}"/>
                  </a:ext>
                </a:extLst>
              </p:cNvPr>
              <p:cNvSpPr/>
              <p:nvPr/>
            </p:nvSpPr>
            <p:spPr>
              <a:xfrm>
                <a:off x="7776600" y="1825625"/>
                <a:ext cx="3577197" cy="720000"/>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37" name="[BKT] Process-Row 80.84">
              <a:extLst>
                <a:ext uri="{FF2B5EF4-FFF2-40B4-BE49-F238E27FC236}">
                  <a16:creationId xmlns:a16="http://schemas.microsoft.com/office/drawing/2014/main" id="{BB20BD69-5C40-751A-5400-711211DF3A7E}"/>
                </a:ext>
              </a:extLst>
            </p:cNvPr>
            <p:cNvGrpSpPr>
              <a:grpSpLocks/>
            </p:cNvGrpSpPr>
            <p:nvPr>
              <p:custDataLst>
                <p:tags r:id="rId7"/>
              </p:custDataLst>
            </p:nvPr>
          </p:nvGrpSpPr>
          <p:grpSpPr>
            <a:xfrm>
              <a:off x="5703359" y="2832649"/>
              <a:ext cx="3423774" cy="538712"/>
              <a:chOff x="7776601" y="2617625"/>
              <a:chExt cx="3423774" cy="1743669"/>
            </a:xfrm>
          </p:grpSpPr>
          <p:sp>
            <p:nvSpPr>
              <p:cNvPr id="138" name="Rechteck 137">
                <a:extLst>
                  <a:ext uri="{FF2B5EF4-FFF2-40B4-BE49-F238E27FC236}">
                    <a16:creationId xmlns:a16="http://schemas.microsoft.com/office/drawing/2014/main" id="{1C0AB848-3A00-563B-D4F1-32A3A9DC4269}"/>
                  </a:ext>
                </a:extLst>
              </p:cNvPr>
              <p:cNvSpPr/>
              <p:nvPr/>
            </p:nvSpPr>
            <p:spPr>
              <a:xfrm>
                <a:off x="7776601" y="2617625"/>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echteck 138">
                <a:extLst>
                  <a:ext uri="{FF2B5EF4-FFF2-40B4-BE49-F238E27FC236}">
                    <a16:creationId xmlns:a16="http://schemas.microsoft.com/office/drawing/2014/main" id="{BE47486F-3C28-8991-36EB-B0941701746B}"/>
                  </a:ext>
                </a:extLst>
              </p:cNvPr>
              <p:cNvSpPr/>
              <p:nvPr/>
            </p:nvSpPr>
            <p:spPr>
              <a:xfrm>
                <a:off x="8956753" y="2617625"/>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echteck 139">
                <a:extLst>
                  <a:ext uri="{FF2B5EF4-FFF2-40B4-BE49-F238E27FC236}">
                    <a16:creationId xmlns:a16="http://schemas.microsoft.com/office/drawing/2014/main" id="{7CF1F793-F7E3-45CD-2974-773544E69B8F}"/>
                  </a:ext>
                </a:extLst>
              </p:cNvPr>
              <p:cNvSpPr/>
              <p:nvPr/>
            </p:nvSpPr>
            <p:spPr>
              <a:xfrm>
                <a:off x="10136908" y="2617625"/>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1" name="[BKT] Process-Row 80.88">
              <a:extLst>
                <a:ext uri="{FF2B5EF4-FFF2-40B4-BE49-F238E27FC236}">
                  <a16:creationId xmlns:a16="http://schemas.microsoft.com/office/drawing/2014/main" id="{D09D6EE0-3547-875F-9E38-E36C1682CFF6}"/>
                </a:ext>
              </a:extLst>
            </p:cNvPr>
            <p:cNvGrpSpPr>
              <a:grpSpLocks/>
            </p:cNvGrpSpPr>
            <p:nvPr>
              <p:custDataLst>
                <p:tags r:id="rId8"/>
              </p:custDataLst>
            </p:nvPr>
          </p:nvGrpSpPr>
          <p:grpSpPr>
            <a:xfrm>
              <a:off x="5703359" y="3428414"/>
              <a:ext cx="3423774" cy="538712"/>
              <a:chOff x="7776601" y="4433294"/>
              <a:chExt cx="3423774" cy="1743669"/>
            </a:xfrm>
          </p:grpSpPr>
          <p:sp>
            <p:nvSpPr>
              <p:cNvPr id="142" name="Rechteck 141">
                <a:extLst>
                  <a:ext uri="{FF2B5EF4-FFF2-40B4-BE49-F238E27FC236}">
                    <a16:creationId xmlns:a16="http://schemas.microsoft.com/office/drawing/2014/main" id="{A5820C9E-7030-C990-265F-02C87A651E3E}"/>
                  </a:ext>
                </a:extLst>
              </p:cNvPr>
              <p:cNvSpPr/>
              <p:nvPr/>
            </p:nvSpPr>
            <p:spPr>
              <a:xfrm>
                <a:off x="7776601" y="4433294"/>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Rechteck 142">
                <a:extLst>
                  <a:ext uri="{FF2B5EF4-FFF2-40B4-BE49-F238E27FC236}">
                    <a16:creationId xmlns:a16="http://schemas.microsoft.com/office/drawing/2014/main" id="{23DE3148-EF4D-28FA-988A-76118EA37CC9}"/>
                  </a:ext>
                </a:extLst>
              </p:cNvPr>
              <p:cNvSpPr/>
              <p:nvPr/>
            </p:nvSpPr>
            <p:spPr>
              <a:xfrm>
                <a:off x="8956753" y="4433294"/>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Rechteck 143">
                <a:extLst>
                  <a:ext uri="{FF2B5EF4-FFF2-40B4-BE49-F238E27FC236}">
                    <a16:creationId xmlns:a16="http://schemas.microsoft.com/office/drawing/2014/main" id="{939DD635-1A33-3FA6-71DE-3C7F9789BAD0}"/>
                  </a:ext>
                </a:extLst>
              </p:cNvPr>
              <p:cNvSpPr/>
              <p:nvPr/>
            </p:nvSpPr>
            <p:spPr>
              <a:xfrm>
                <a:off x="10136908" y="4433294"/>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62" name="Gruppieren 161">
            <a:extLst>
              <a:ext uri="{FF2B5EF4-FFF2-40B4-BE49-F238E27FC236}">
                <a16:creationId xmlns:a16="http://schemas.microsoft.com/office/drawing/2014/main" id="{5FC7BCA3-95E4-A552-629C-C4A4865D9D77}"/>
              </a:ext>
            </a:extLst>
          </p:cNvPr>
          <p:cNvGrpSpPr/>
          <p:nvPr/>
        </p:nvGrpSpPr>
        <p:grpSpPr>
          <a:xfrm>
            <a:off x="8836150" y="2176090"/>
            <a:ext cx="2506428" cy="1275341"/>
            <a:chOff x="5550958" y="1994546"/>
            <a:chExt cx="3577199" cy="1820180"/>
          </a:xfrm>
        </p:grpSpPr>
        <p:grpSp>
          <p:nvGrpSpPr>
            <p:cNvPr id="152" name="[BKT] Process 80">
              <a:extLst>
                <a:ext uri="{FF2B5EF4-FFF2-40B4-BE49-F238E27FC236}">
                  <a16:creationId xmlns:a16="http://schemas.microsoft.com/office/drawing/2014/main" id="{AD1DF533-752D-FF34-5D33-A13A76E667F0}"/>
                </a:ext>
              </a:extLst>
            </p:cNvPr>
            <p:cNvGrpSpPr>
              <a:grpSpLocks/>
            </p:cNvGrpSpPr>
            <p:nvPr>
              <p:custDataLst>
                <p:tags r:id="rId2"/>
              </p:custDataLst>
            </p:nvPr>
          </p:nvGrpSpPr>
          <p:grpSpPr>
            <a:xfrm>
              <a:off x="5550958" y="1994546"/>
              <a:ext cx="3577199" cy="541701"/>
              <a:chOff x="5550958" y="1994546"/>
              <a:chExt cx="3577199" cy="541701"/>
            </a:xfrm>
          </p:grpSpPr>
          <p:sp>
            <p:nvSpPr>
              <p:cNvPr id="77" name="Pfeil: Fünfeck 76">
                <a:extLst>
                  <a:ext uri="{FF2B5EF4-FFF2-40B4-BE49-F238E27FC236}">
                    <a16:creationId xmlns:a16="http://schemas.microsoft.com/office/drawing/2014/main" id="{D85C202F-0BA5-B73E-88CB-E7F83CD673B5}"/>
                  </a:ext>
                </a:extLst>
              </p:cNvPr>
              <p:cNvSpPr/>
              <p:nvPr/>
            </p:nvSpPr>
            <p:spPr>
              <a:xfrm>
                <a:off x="5550958" y="1994546"/>
                <a:ext cx="672830" cy="541701"/>
              </a:xfrm>
              <a:prstGeom prst="homePlate">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Pfeil: Chevron 77">
                <a:extLst>
                  <a:ext uri="{FF2B5EF4-FFF2-40B4-BE49-F238E27FC236}">
                    <a16:creationId xmlns:a16="http://schemas.microsoft.com/office/drawing/2014/main" id="{1A44E818-3AD5-085B-4A13-2B06A9E95797}"/>
                  </a:ext>
                </a:extLst>
              </p:cNvPr>
              <p:cNvSpPr/>
              <p:nvPr/>
            </p:nvSpPr>
            <p:spPr>
              <a:xfrm>
                <a:off x="6277050"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9" name="Pfeil: Chevron 78">
                <a:extLst>
                  <a:ext uri="{FF2B5EF4-FFF2-40B4-BE49-F238E27FC236}">
                    <a16:creationId xmlns:a16="http://schemas.microsoft.com/office/drawing/2014/main" id="{355649CC-65F9-7C68-DA11-1F9C16802E04}"/>
                  </a:ext>
                </a:extLst>
              </p:cNvPr>
              <p:cNvSpPr/>
              <p:nvPr/>
            </p:nvSpPr>
            <p:spPr>
              <a:xfrm>
                <a:off x="7003142"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0" name="Pfeil: Chevron 149">
                <a:extLst>
                  <a:ext uri="{FF2B5EF4-FFF2-40B4-BE49-F238E27FC236}">
                    <a16:creationId xmlns:a16="http://schemas.microsoft.com/office/drawing/2014/main" id="{21C4F1CC-8495-FD1F-C319-4A85C70B2673}"/>
                  </a:ext>
                </a:extLst>
              </p:cNvPr>
              <p:cNvSpPr/>
              <p:nvPr/>
            </p:nvSpPr>
            <p:spPr>
              <a:xfrm>
                <a:off x="7729234"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1" name="Pfeil: Chevron 150">
                <a:extLst>
                  <a:ext uri="{FF2B5EF4-FFF2-40B4-BE49-F238E27FC236}">
                    <a16:creationId xmlns:a16="http://schemas.microsoft.com/office/drawing/2014/main" id="{EC29A321-B780-72F7-FA49-34AE6A7C7E75}"/>
                  </a:ext>
                </a:extLst>
              </p:cNvPr>
              <p:cNvSpPr/>
              <p:nvPr/>
            </p:nvSpPr>
            <p:spPr>
              <a:xfrm>
                <a:off x="8455327"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55" name="[BKT] Process-Row 80.84">
              <a:extLst>
                <a:ext uri="{FF2B5EF4-FFF2-40B4-BE49-F238E27FC236}">
                  <a16:creationId xmlns:a16="http://schemas.microsoft.com/office/drawing/2014/main" id="{CFB64608-9417-B1FC-0305-E9D4281FB990}"/>
                </a:ext>
              </a:extLst>
            </p:cNvPr>
            <p:cNvGrpSpPr>
              <a:grpSpLocks/>
            </p:cNvGrpSpPr>
            <p:nvPr>
              <p:custDataLst>
                <p:tags r:id="rId3"/>
              </p:custDataLst>
            </p:nvPr>
          </p:nvGrpSpPr>
          <p:grpSpPr>
            <a:xfrm>
              <a:off x="5550958" y="2724935"/>
              <a:ext cx="3441774" cy="237472"/>
              <a:chOff x="5550958" y="2724935"/>
              <a:chExt cx="3441774" cy="237472"/>
            </a:xfrm>
          </p:grpSpPr>
          <p:sp>
            <p:nvSpPr>
              <p:cNvPr id="81" name="Rechteck 80">
                <a:extLst>
                  <a:ext uri="{FF2B5EF4-FFF2-40B4-BE49-F238E27FC236}">
                    <a16:creationId xmlns:a16="http://schemas.microsoft.com/office/drawing/2014/main" id="{07D1E420-0184-0C8B-1C8C-A3D3B5B1211C}"/>
                  </a:ext>
                </a:extLst>
              </p:cNvPr>
              <p:cNvSpPr/>
              <p:nvPr/>
            </p:nvSpPr>
            <p:spPr>
              <a:xfrm>
                <a:off x="5550958"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hteck 81">
                <a:extLst>
                  <a:ext uri="{FF2B5EF4-FFF2-40B4-BE49-F238E27FC236}">
                    <a16:creationId xmlns:a16="http://schemas.microsoft.com/office/drawing/2014/main" id="{14ACA0D1-0E54-AB3A-2307-E8E55817EFEE}"/>
                  </a:ext>
                </a:extLst>
              </p:cNvPr>
              <p:cNvSpPr/>
              <p:nvPr/>
            </p:nvSpPr>
            <p:spPr>
              <a:xfrm>
                <a:off x="6277050"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hteck 82">
                <a:extLst>
                  <a:ext uri="{FF2B5EF4-FFF2-40B4-BE49-F238E27FC236}">
                    <a16:creationId xmlns:a16="http://schemas.microsoft.com/office/drawing/2014/main" id="{3ED8A9F1-B1E3-789D-1100-92D6B29BEF5D}"/>
                  </a:ext>
                </a:extLst>
              </p:cNvPr>
              <p:cNvSpPr/>
              <p:nvPr/>
            </p:nvSpPr>
            <p:spPr>
              <a:xfrm>
                <a:off x="7003142"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hteck 152">
                <a:extLst>
                  <a:ext uri="{FF2B5EF4-FFF2-40B4-BE49-F238E27FC236}">
                    <a16:creationId xmlns:a16="http://schemas.microsoft.com/office/drawing/2014/main" id="{5DD13EDE-E1C3-CAAB-CF1F-4C7E9C4BB5F7}"/>
                  </a:ext>
                </a:extLst>
              </p:cNvPr>
              <p:cNvSpPr/>
              <p:nvPr/>
            </p:nvSpPr>
            <p:spPr>
              <a:xfrm>
                <a:off x="7729234"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echteck 153">
                <a:extLst>
                  <a:ext uri="{FF2B5EF4-FFF2-40B4-BE49-F238E27FC236}">
                    <a16:creationId xmlns:a16="http://schemas.microsoft.com/office/drawing/2014/main" id="{91B4DC6C-7117-4126-A097-A4EFA76DEC3F}"/>
                  </a:ext>
                </a:extLst>
              </p:cNvPr>
              <p:cNvSpPr/>
              <p:nvPr/>
            </p:nvSpPr>
            <p:spPr>
              <a:xfrm>
                <a:off x="8455327"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8" name="[BKT] Process-Row 80.88">
              <a:extLst>
                <a:ext uri="{FF2B5EF4-FFF2-40B4-BE49-F238E27FC236}">
                  <a16:creationId xmlns:a16="http://schemas.microsoft.com/office/drawing/2014/main" id="{40251E3A-9168-B533-6BE9-EA938474CB37}"/>
                </a:ext>
              </a:extLst>
            </p:cNvPr>
            <p:cNvGrpSpPr>
              <a:grpSpLocks/>
            </p:cNvGrpSpPr>
            <p:nvPr>
              <p:custDataLst>
                <p:tags r:id="rId4"/>
              </p:custDataLst>
            </p:nvPr>
          </p:nvGrpSpPr>
          <p:grpSpPr>
            <a:xfrm>
              <a:off x="5550958" y="3151094"/>
              <a:ext cx="3441774" cy="237472"/>
              <a:chOff x="5550958" y="3151094"/>
              <a:chExt cx="3441774" cy="237472"/>
            </a:xfrm>
          </p:grpSpPr>
          <p:sp>
            <p:nvSpPr>
              <p:cNvPr id="85" name="Rechteck 84">
                <a:extLst>
                  <a:ext uri="{FF2B5EF4-FFF2-40B4-BE49-F238E27FC236}">
                    <a16:creationId xmlns:a16="http://schemas.microsoft.com/office/drawing/2014/main" id="{8A1B76D6-C537-7988-0C92-EC99B5E75F4A}"/>
                  </a:ext>
                </a:extLst>
              </p:cNvPr>
              <p:cNvSpPr/>
              <p:nvPr/>
            </p:nvSpPr>
            <p:spPr>
              <a:xfrm>
                <a:off x="5550958"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hteck 85">
                <a:extLst>
                  <a:ext uri="{FF2B5EF4-FFF2-40B4-BE49-F238E27FC236}">
                    <a16:creationId xmlns:a16="http://schemas.microsoft.com/office/drawing/2014/main" id="{069E7F3E-A4CE-1C37-26DF-F7EFD0BA05B1}"/>
                  </a:ext>
                </a:extLst>
              </p:cNvPr>
              <p:cNvSpPr/>
              <p:nvPr/>
            </p:nvSpPr>
            <p:spPr>
              <a:xfrm>
                <a:off x="6277050"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hteck 86">
                <a:extLst>
                  <a:ext uri="{FF2B5EF4-FFF2-40B4-BE49-F238E27FC236}">
                    <a16:creationId xmlns:a16="http://schemas.microsoft.com/office/drawing/2014/main" id="{ED4E6B84-9743-5DF4-845B-9DCDE9D01DAB}"/>
                  </a:ext>
                </a:extLst>
              </p:cNvPr>
              <p:cNvSpPr/>
              <p:nvPr/>
            </p:nvSpPr>
            <p:spPr>
              <a:xfrm>
                <a:off x="7003142"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Rechteck 155">
                <a:extLst>
                  <a:ext uri="{FF2B5EF4-FFF2-40B4-BE49-F238E27FC236}">
                    <a16:creationId xmlns:a16="http://schemas.microsoft.com/office/drawing/2014/main" id="{087ABA79-7D4F-D956-B4F8-B9144CC05CE1}"/>
                  </a:ext>
                </a:extLst>
              </p:cNvPr>
              <p:cNvSpPr/>
              <p:nvPr/>
            </p:nvSpPr>
            <p:spPr>
              <a:xfrm>
                <a:off x="7729234"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Rechteck 156">
                <a:extLst>
                  <a:ext uri="{FF2B5EF4-FFF2-40B4-BE49-F238E27FC236}">
                    <a16:creationId xmlns:a16="http://schemas.microsoft.com/office/drawing/2014/main" id="{842241C9-AC87-862E-E9CC-3D4320AEC793}"/>
                  </a:ext>
                </a:extLst>
              </p:cNvPr>
              <p:cNvSpPr/>
              <p:nvPr/>
            </p:nvSpPr>
            <p:spPr>
              <a:xfrm>
                <a:off x="8455327"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1" name="[BKT] Process-Row 80.146">
              <a:extLst>
                <a:ext uri="{FF2B5EF4-FFF2-40B4-BE49-F238E27FC236}">
                  <a16:creationId xmlns:a16="http://schemas.microsoft.com/office/drawing/2014/main" id="{A4708F8B-866B-78EA-14CE-FE008B8EFECB}"/>
                </a:ext>
              </a:extLst>
            </p:cNvPr>
            <p:cNvGrpSpPr>
              <a:grpSpLocks/>
            </p:cNvGrpSpPr>
            <p:nvPr>
              <p:custDataLst>
                <p:tags r:id="rId5"/>
              </p:custDataLst>
            </p:nvPr>
          </p:nvGrpSpPr>
          <p:grpSpPr>
            <a:xfrm>
              <a:off x="5550958" y="3577254"/>
              <a:ext cx="3441774" cy="237472"/>
              <a:chOff x="5550958" y="3577254"/>
              <a:chExt cx="3441774" cy="237472"/>
            </a:xfrm>
          </p:grpSpPr>
          <p:sp>
            <p:nvSpPr>
              <p:cNvPr id="147" name="Rechteck 146">
                <a:extLst>
                  <a:ext uri="{FF2B5EF4-FFF2-40B4-BE49-F238E27FC236}">
                    <a16:creationId xmlns:a16="http://schemas.microsoft.com/office/drawing/2014/main" id="{865B93EB-324C-A5DD-4518-8A8FCD0C5E5D}"/>
                  </a:ext>
                </a:extLst>
              </p:cNvPr>
              <p:cNvSpPr/>
              <p:nvPr/>
            </p:nvSpPr>
            <p:spPr>
              <a:xfrm>
                <a:off x="5550958"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echteck 147">
                <a:extLst>
                  <a:ext uri="{FF2B5EF4-FFF2-40B4-BE49-F238E27FC236}">
                    <a16:creationId xmlns:a16="http://schemas.microsoft.com/office/drawing/2014/main" id="{2F81635C-20DE-41E4-D8AC-7BBDBE58A894}"/>
                  </a:ext>
                </a:extLst>
              </p:cNvPr>
              <p:cNvSpPr/>
              <p:nvPr/>
            </p:nvSpPr>
            <p:spPr>
              <a:xfrm>
                <a:off x="6277050"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echteck 148">
                <a:extLst>
                  <a:ext uri="{FF2B5EF4-FFF2-40B4-BE49-F238E27FC236}">
                    <a16:creationId xmlns:a16="http://schemas.microsoft.com/office/drawing/2014/main" id="{1196368D-6C42-B653-CE2E-DB9AA58A4412}"/>
                  </a:ext>
                </a:extLst>
              </p:cNvPr>
              <p:cNvSpPr/>
              <p:nvPr/>
            </p:nvSpPr>
            <p:spPr>
              <a:xfrm>
                <a:off x="7003142"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Rechteck 158">
                <a:extLst>
                  <a:ext uri="{FF2B5EF4-FFF2-40B4-BE49-F238E27FC236}">
                    <a16:creationId xmlns:a16="http://schemas.microsoft.com/office/drawing/2014/main" id="{704BF199-DE41-A23A-7C2B-84D5934EF5AB}"/>
                  </a:ext>
                </a:extLst>
              </p:cNvPr>
              <p:cNvSpPr/>
              <p:nvPr/>
            </p:nvSpPr>
            <p:spPr>
              <a:xfrm>
                <a:off x="7729234"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Rechteck 159">
                <a:extLst>
                  <a:ext uri="{FF2B5EF4-FFF2-40B4-BE49-F238E27FC236}">
                    <a16:creationId xmlns:a16="http://schemas.microsoft.com/office/drawing/2014/main" id="{79533633-EA84-7983-B7CE-2FFF91CE9308}"/>
                  </a:ext>
                </a:extLst>
              </p:cNvPr>
              <p:cNvSpPr/>
              <p:nvPr/>
            </p:nvSpPr>
            <p:spPr>
              <a:xfrm>
                <a:off x="8455327"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63" name="Rechteck 162">
            <a:extLst>
              <a:ext uri="{FF2B5EF4-FFF2-40B4-BE49-F238E27FC236}">
                <a16:creationId xmlns:a16="http://schemas.microsoft.com/office/drawing/2014/main" id="{9E97827B-7052-8F32-604B-8D8EC200A891}"/>
              </a:ext>
            </a:extLst>
          </p:cNvPr>
          <p:cNvSpPr/>
          <p:nvPr/>
        </p:nvSpPr>
        <p:spPr>
          <a:xfrm>
            <a:off x="8248347" y="4067056"/>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4" name="Rechteck 163">
            <a:extLst>
              <a:ext uri="{FF2B5EF4-FFF2-40B4-BE49-F238E27FC236}">
                <a16:creationId xmlns:a16="http://schemas.microsoft.com/office/drawing/2014/main" id="{8A5D36AF-EAAB-3A43-560A-53BE6CDE9A73}"/>
              </a:ext>
            </a:extLst>
          </p:cNvPr>
          <p:cNvSpPr/>
          <p:nvPr/>
        </p:nvSpPr>
        <p:spPr>
          <a:xfrm>
            <a:off x="7025461" y="5797094"/>
            <a:ext cx="512558" cy="17946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6089251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kt 42" hidden="1">
            <a:extLst>
              <a:ext uri="{FF2B5EF4-FFF2-40B4-BE49-F238E27FC236}">
                <a16:creationId xmlns:a16="http://schemas.microsoft.com/office/drawing/2014/main" id="{2CC9F96B-7C82-C8D1-B243-D659990C2965}"/>
              </a:ext>
            </a:extLst>
          </p:cNvPr>
          <p:cNvGraphicFramePr>
            <a:graphicFrameLocks noChangeAspect="1"/>
          </p:cNvGraphicFramePr>
          <p:nvPr>
            <p:custDataLst>
              <p:tags r:id="rId1"/>
            </p:custDataLst>
            <p:extLst>
              <p:ext uri="{D42A27DB-BD31-4B8C-83A1-F6EECF244321}">
                <p14:modId xmlns:p14="http://schemas.microsoft.com/office/powerpoint/2010/main" val="3488086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BD2D791-6196-853B-DA07-5F87E5ED9ED7}"/>
              </a:ext>
            </a:extLst>
          </p:cNvPr>
          <p:cNvSpPr>
            <a:spLocks noGrp="1"/>
          </p:cNvSpPr>
          <p:nvPr>
            <p:ph type="title"/>
          </p:nvPr>
        </p:nvSpPr>
        <p:spPr/>
        <p:txBody>
          <a:bodyPr vert="horz"/>
          <a:lstStyle/>
          <a:p>
            <a:r>
              <a:rPr lang="de-DE" dirty="0"/>
              <a:t>Small </a:t>
            </a:r>
            <a:r>
              <a:rPr lang="de-DE" dirty="0" err="1"/>
              <a:t>Improvements</a:t>
            </a:r>
            <a:endParaRPr lang="en-US" dirty="0"/>
          </a:p>
        </p:txBody>
      </p:sp>
      <p:sp>
        <p:nvSpPr>
          <p:cNvPr id="3" name="Textfeld 2">
            <a:extLst>
              <a:ext uri="{FF2B5EF4-FFF2-40B4-BE49-F238E27FC236}">
                <a16:creationId xmlns:a16="http://schemas.microsoft.com/office/drawing/2014/main" id="{165679B8-0150-19A5-94D6-F43D350B94C5}"/>
              </a:ext>
            </a:extLst>
          </p:cNvPr>
          <p:cNvSpPr txBox="1"/>
          <p:nvPr/>
        </p:nvSpPr>
        <p:spPr>
          <a:xfrm>
            <a:off x="434736" y="3565620"/>
            <a:ext cx="2338254" cy="646331"/>
          </a:xfrm>
          <a:prstGeom prst="rect">
            <a:avLst/>
          </a:prstGeom>
          <a:noFill/>
        </p:spPr>
        <p:txBody>
          <a:bodyPr wrap="square" rtlCol="0">
            <a:spAutoFit/>
          </a:bodyPr>
          <a:lstStyle/>
          <a:p>
            <a:r>
              <a:rPr lang="de-DE" dirty="0"/>
              <a:t>Font </a:t>
            </a:r>
            <a:r>
              <a:rPr lang="de-DE" dirty="0" err="1"/>
              <a:t>Awesome</a:t>
            </a:r>
            <a:r>
              <a:rPr lang="de-DE" dirty="0"/>
              <a:t> 6 Icons Support</a:t>
            </a:r>
          </a:p>
        </p:txBody>
      </p:sp>
      <p:pic>
        <p:nvPicPr>
          <p:cNvPr id="5" name="Grafik 4">
            <a:extLst>
              <a:ext uri="{FF2B5EF4-FFF2-40B4-BE49-F238E27FC236}">
                <a16:creationId xmlns:a16="http://schemas.microsoft.com/office/drawing/2014/main" id="{5D895EED-803B-0D38-AB3A-34DB18AB2DB5}"/>
              </a:ext>
            </a:extLst>
          </p:cNvPr>
          <p:cNvPicPr>
            <a:picLocks noChangeAspect="1"/>
          </p:cNvPicPr>
          <p:nvPr/>
        </p:nvPicPr>
        <p:blipFill>
          <a:blip r:embed="rId5"/>
          <a:stretch>
            <a:fillRect/>
          </a:stretch>
        </p:blipFill>
        <p:spPr>
          <a:xfrm>
            <a:off x="634640" y="1897214"/>
            <a:ext cx="1686160" cy="1562318"/>
          </a:xfrm>
          <a:prstGeom prst="rect">
            <a:avLst/>
          </a:prstGeom>
        </p:spPr>
      </p:pic>
      <p:pic>
        <p:nvPicPr>
          <p:cNvPr id="9" name="Grafik 8">
            <a:extLst>
              <a:ext uri="{FF2B5EF4-FFF2-40B4-BE49-F238E27FC236}">
                <a16:creationId xmlns:a16="http://schemas.microsoft.com/office/drawing/2014/main" id="{E1758A4A-DF60-B265-CC32-C5EE17102BEB}"/>
              </a:ext>
            </a:extLst>
          </p:cNvPr>
          <p:cNvPicPr>
            <a:picLocks noChangeAspect="1"/>
          </p:cNvPicPr>
          <p:nvPr/>
        </p:nvPicPr>
        <p:blipFill>
          <a:blip r:embed="rId6"/>
          <a:stretch>
            <a:fillRect/>
          </a:stretch>
        </p:blipFill>
        <p:spPr>
          <a:xfrm>
            <a:off x="3632125" y="2120069"/>
            <a:ext cx="2106505" cy="553474"/>
          </a:xfrm>
          <a:prstGeom prst="rect">
            <a:avLst/>
          </a:prstGeom>
        </p:spPr>
      </p:pic>
      <p:pic>
        <p:nvPicPr>
          <p:cNvPr id="10" name="Grafik 9">
            <a:extLst>
              <a:ext uri="{FF2B5EF4-FFF2-40B4-BE49-F238E27FC236}">
                <a16:creationId xmlns:a16="http://schemas.microsoft.com/office/drawing/2014/main" id="{D1E5469E-4503-7473-F122-C50BA4B3820F}"/>
              </a:ext>
            </a:extLst>
          </p:cNvPr>
          <p:cNvPicPr>
            <a:picLocks noChangeAspect="1"/>
          </p:cNvPicPr>
          <p:nvPr/>
        </p:nvPicPr>
        <p:blipFill>
          <a:blip r:embed="rId7"/>
          <a:stretch>
            <a:fillRect/>
          </a:stretch>
        </p:blipFill>
        <p:spPr>
          <a:xfrm>
            <a:off x="5184160" y="2239999"/>
            <a:ext cx="726304" cy="726304"/>
          </a:xfrm>
          <a:prstGeom prst="rect">
            <a:avLst/>
          </a:prstGeom>
        </p:spPr>
      </p:pic>
      <p:sp>
        <p:nvSpPr>
          <p:cNvPr id="11" name="Textfeld 10">
            <a:extLst>
              <a:ext uri="{FF2B5EF4-FFF2-40B4-BE49-F238E27FC236}">
                <a16:creationId xmlns:a16="http://schemas.microsoft.com/office/drawing/2014/main" id="{3AF49C26-0D65-9FA3-F87A-E003BDD7734B}"/>
              </a:ext>
            </a:extLst>
          </p:cNvPr>
          <p:cNvSpPr txBox="1"/>
          <p:nvPr/>
        </p:nvSpPr>
        <p:spPr>
          <a:xfrm>
            <a:off x="3400376" y="2916119"/>
            <a:ext cx="2723580" cy="923330"/>
          </a:xfrm>
          <a:prstGeom prst="rect">
            <a:avLst/>
          </a:prstGeom>
          <a:noFill/>
        </p:spPr>
        <p:txBody>
          <a:bodyPr wrap="square" rtlCol="0">
            <a:spAutoFit/>
          </a:bodyPr>
          <a:lstStyle/>
          <a:p>
            <a:r>
              <a:rPr lang="de-DE" dirty="0"/>
              <a:t>Folien-Thumbnails funktionieren mit Dateien in OneDrive</a:t>
            </a:r>
          </a:p>
        </p:txBody>
      </p:sp>
      <p:pic>
        <p:nvPicPr>
          <p:cNvPr id="13" name="Grafik 12">
            <a:extLst>
              <a:ext uri="{FF2B5EF4-FFF2-40B4-BE49-F238E27FC236}">
                <a16:creationId xmlns:a16="http://schemas.microsoft.com/office/drawing/2014/main" id="{77121F1A-BF14-999E-EF76-C59668F9FF83}"/>
              </a:ext>
            </a:extLst>
          </p:cNvPr>
          <p:cNvPicPr>
            <a:picLocks noChangeAspect="1"/>
          </p:cNvPicPr>
          <p:nvPr/>
        </p:nvPicPr>
        <p:blipFill>
          <a:blip r:embed="rId8"/>
          <a:stretch>
            <a:fillRect/>
          </a:stretch>
        </p:blipFill>
        <p:spPr>
          <a:xfrm>
            <a:off x="1149854" y="4593563"/>
            <a:ext cx="3448531" cy="905001"/>
          </a:xfrm>
          <a:prstGeom prst="rect">
            <a:avLst/>
          </a:prstGeom>
        </p:spPr>
      </p:pic>
      <p:sp>
        <p:nvSpPr>
          <p:cNvPr id="14" name="Textfeld 13">
            <a:extLst>
              <a:ext uri="{FF2B5EF4-FFF2-40B4-BE49-F238E27FC236}">
                <a16:creationId xmlns:a16="http://schemas.microsoft.com/office/drawing/2014/main" id="{0236FC2E-7702-74DB-E930-119215E444E4}"/>
              </a:ext>
            </a:extLst>
          </p:cNvPr>
          <p:cNvSpPr txBox="1"/>
          <p:nvPr/>
        </p:nvSpPr>
        <p:spPr>
          <a:xfrm>
            <a:off x="1021984" y="5529989"/>
            <a:ext cx="2994121" cy="646331"/>
          </a:xfrm>
          <a:prstGeom prst="rect">
            <a:avLst/>
          </a:prstGeom>
          <a:noFill/>
        </p:spPr>
        <p:txBody>
          <a:bodyPr wrap="square" rtlCol="0">
            <a:spAutoFit/>
          </a:bodyPr>
          <a:lstStyle/>
          <a:p>
            <a:r>
              <a:rPr lang="de-DE" dirty="0"/>
              <a:t>Beliebige Chart/Shape Library ergänzen</a:t>
            </a:r>
          </a:p>
        </p:txBody>
      </p:sp>
      <p:pic>
        <p:nvPicPr>
          <p:cNvPr id="18" name="Grafik 17">
            <a:extLst>
              <a:ext uri="{FF2B5EF4-FFF2-40B4-BE49-F238E27FC236}">
                <a16:creationId xmlns:a16="http://schemas.microsoft.com/office/drawing/2014/main" id="{BF8FDE09-202E-8373-4C87-14FF2FB726E2}"/>
              </a:ext>
            </a:extLst>
          </p:cNvPr>
          <p:cNvPicPr>
            <a:picLocks noChangeAspect="1"/>
          </p:cNvPicPr>
          <p:nvPr/>
        </p:nvPicPr>
        <p:blipFill>
          <a:blip r:embed="rId9"/>
          <a:stretch>
            <a:fillRect/>
          </a:stretch>
        </p:blipFill>
        <p:spPr>
          <a:xfrm>
            <a:off x="9438417" y="3090312"/>
            <a:ext cx="2033782" cy="1296360"/>
          </a:xfrm>
          <a:prstGeom prst="rect">
            <a:avLst/>
          </a:prstGeom>
        </p:spPr>
      </p:pic>
      <p:pic>
        <p:nvPicPr>
          <p:cNvPr id="34" name="Grafik 33">
            <a:extLst>
              <a:ext uri="{FF2B5EF4-FFF2-40B4-BE49-F238E27FC236}">
                <a16:creationId xmlns:a16="http://schemas.microsoft.com/office/drawing/2014/main" id="{007D7F1D-E996-15DC-B124-E9F86353BFAE}"/>
              </a:ext>
            </a:extLst>
          </p:cNvPr>
          <p:cNvPicPr>
            <a:picLocks noChangeAspect="1"/>
          </p:cNvPicPr>
          <p:nvPr/>
        </p:nvPicPr>
        <p:blipFill>
          <a:blip r:embed="rId10"/>
          <a:stretch>
            <a:fillRect/>
          </a:stretch>
        </p:blipFill>
        <p:spPr>
          <a:xfrm>
            <a:off x="6465515" y="4725235"/>
            <a:ext cx="2448073" cy="1315783"/>
          </a:xfrm>
          <a:prstGeom prst="rect">
            <a:avLst/>
          </a:prstGeom>
        </p:spPr>
      </p:pic>
      <p:pic>
        <p:nvPicPr>
          <p:cNvPr id="40" name="Grafik 39">
            <a:extLst>
              <a:ext uri="{FF2B5EF4-FFF2-40B4-BE49-F238E27FC236}">
                <a16:creationId xmlns:a16="http://schemas.microsoft.com/office/drawing/2014/main" id="{92C61152-BCE0-76F2-0194-6F50AE4DB868}"/>
              </a:ext>
            </a:extLst>
          </p:cNvPr>
          <p:cNvPicPr>
            <a:picLocks noChangeAspect="1"/>
          </p:cNvPicPr>
          <p:nvPr/>
        </p:nvPicPr>
        <p:blipFill>
          <a:blip r:embed="rId11"/>
          <a:stretch>
            <a:fillRect/>
          </a:stretch>
        </p:blipFill>
        <p:spPr>
          <a:xfrm>
            <a:off x="6762651" y="3163726"/>
            <a:ext cx="2338254" cy="1149533"/>
          </a:xfrm>
          <a:prstGeom prst="rect">
            <a:avLst/>
          </a:prstGeom>
        </p:spPr>
      </p:pic>
      <p:sp>
        <p:nvSpPr>
          <p:cNvPr id="41" name="Textfeld 40">
            <a:extLst>
              <a:ext uri="{FF2B5EF4-FFF2-40B4-BE49-F238E27FC236}">
                <a16:creationId xmlns:a16="http://schemas.microsoft.com/office/drawing/2014/main" id="{A01A296B-4644-76F0-0E75-356D1E2745FE}"/>
              </a:ext>
            </a:extLst>
          </p:cNvPr>
          <p:cNvSpPr txBox="1"/>
          <p:nvPr/>
        </p:nvSpPr>
        <p:spPr>
          <a:xfrm>
            <a:off x="6977425" y="1935141"/>
            <a:ext cx="4111975" cy="923330"/>
          </a:xfrm>
          <a:prstGeom prst="rect">
            <a:avLst/>
          </a:prstGeom>
          <a:noFill/>
        </p:spPr>
        <p:txBody>
          <a:bodyPr wrap="square" rtlCol="0">
            <a:spAutoFit/>
          </a:bodyPr>
          <a:lstStyle/>
          <a:p>
            <a:r>
              <a:rPr lang="de-DE" dirty="0"/>
              <a:t>Einige BKT-Funktionen sind nun zusammengefasst in einem dynamischen Kontextmenü:</a:t>
            </a:r>
          </a:p>
        </p:txBody>
      </p:sp>
      <p:sp>
        <p:nvSpPr>
          <p:cNvPr id="44" name="Rechteck 43">
            <a:extLst>
              <a:ext uri="{FF2B5EF4-FFF2-40B4-BE49-F238E27FC236}">
                <a16:creationId xmlns:a16="http://schemas.microsoft.com/office/drawing/2014/main" id="{BB10BD07-E42A-15A9-A672-5EB62D714580}"/>
              </a:ext>
            </a:extLst>
          </p:cNvPr>
          <p:cNvSpPr/>
          <p:nvPr/>
        </p:nvSpPr>
        <p:spPr>
          <a:xfrm>
            <a:off x="1149854" y="4906020"/>
            <a:ext cx="2489335" cy="25512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5" name="Rechteck 44">
            <a:extLst>
              <a:ext uri="{FF2B5EF4-FFF2-40B4-BE49-F238E27FC236}">
                <a16:creationId xmlns:a16="http://schemas.microsoft.com/office/drawing/2014/main" id="{6C0639B0-639C-AEA2-3972-7B9D195542FA}"/>
              </a:ext>
            </a:extLst>
          </p:cNvPr>
          <p:cNvSpPr/>
          <p:nvPr/>
        </p:nvSpPr>
        <p:spPr>
          <a:xfrm>
            <a:off x="6762651" y="3163726"/>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6" name="Rechteck 45">
            <a:extLst>
              <a:ext uri="{FF2B5EF4-FFF2-40B4-BE49-F238E27FC236}">
                <a16:creationId xmlns:a16="http://schemas.microsoft.com/office/drawing/2014/main" id="{8E7C24C5-11D9-899E-AE17-BF2949D2EC79}"/>
              </a:ext>
            </a:extLst>
          </p:cNvPr>
          <p:cNvSpPr/>
          <p:nvPr/>
        </p:nvSpPr>
        <p:spPr>
          <a:xfrm>
            <a:off x="9438417" y="3163726"/>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Rechteck 46">
            <a:extLst>
              <a:ext uri="{FF2B5EF4-FFF2-40B4-BE49-F238E27FC236}">
                <a16:creationId xmlns:a16="http://schemas.microsoft.com/office/drawing/2014/main" id="{F51B4A50-14B8-CD37-3ABA-1A2AD15BAA6B}"/>
              </a:ext>
            </a:extLst>
          </p:cNvPr>
          <p:cNvSpPr/>
          <p:nvPr/>
        </p:nvSpPr>
        <p:spPr>
          <a:xfrm>
            <a:off x="6465515" y="4723018"/>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2" name="Grafik 51">
            <a:extLst>
              <a:ext uri="{FF2B5EF4-FFF2-40B4-BE49-F238E27FC236}">
                <a16:creationId xmlns:a16="http://schemas.microsoft.com/office/drawing/2014/main" id="{A2A66A4B-227D-F913-833C-07B76162DFC4}"/>
              </a:ext>
            </a:extLst>
          </p:cNvPr>
          <p:cNvPicPr>
            <a:picLocks noChangeAspect="1"/>
          </p:cNvPicPr>
          <p:nvPr/>
        </p:nvPicPr>
        <p:blipFill>
          <a:blip r:embed="rId12"/>
          <a:stretch>
            <a:fillRect/>
          </a:stretch>
        </p:blipFill>
        <p:spPr>
          <a:xfrm>
            <a:off x="9225826" y="4906020"/>
            <a:ext cx="2600688" cy="1005028"/>
          </a:xfrm>
          <a:prstGeom prst="rect">
            <a:avLst/>
          </a:prstGeom>
        </p:spPr>
      </p:pic>
      <p:sp>
        <p:nvSpPr>
          <p:cNvPr id="53" name="Rechteck 52">
            <a:extLst>
              <a:ext uri="{FF2B5EF4-FFF2-40B4-BE49-F238E27FC236}">
                <a16:creationId xmlns:a16="http://schemas.microsoft.com/office/drawing/2014/main" id="{1757F2AE-ACE4-65C6-BC97-7954F017236A}"/>
              </a:ext>
            </a:extLst>
          </p:cNvPr>
          <p:cNvSpPr/>
          <p:nvPr/>
        </p:nvSpPr>
        <p:spPr>
          <a:xfrm>
            <a:off x="9225826" y="4906020"/>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29131853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8178EE9-3C62-C502-D041-EF5BA136FA87}"/>
              </a:ext>
            </a:extLst>
          </p:cNvPr>
          <p:cNvGraphicFramePr>
            <a:graphicFrameLocks noChangeAspect="1"/>
          </p:cNvGraphicFramePr>
          <p:nvPr>
            <p:custDataLst>
              <p:tags r:id="rId1"/>
            </p:custDataLst>
            <p:extLst>
              <p:ext uri="{D42A27DB-BD31-4B8C-83A1-F6EECF244321}">
                <p14:modId xmlns:p14="http://schemas.microsoft.com/office/powerpoint/2010/main" val="3880198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ABAA3CE-9D62-F465-D371-2EDE90B793C4}"/>
              </a:ext>
            </a:extLst>
          </p:cNvPr>
          <p:cNvSpPr>
            <a:spLocks noGrp="1"/>
          </p:cNvSpPr>
          <p:nvPr>
            <p:ph type="title"/>
          </p:nvPr>
        </p:nvSpPr>
        <p:spPr/>
        <p:txBody>
          <a:bodyPr vert="horz"/>
          <a:lstStyle/>
          <a:p>
            <a:r>
              <a:rPr lang="en-US" dirty="0"/>
              <a:t>Excel </a:t>
            </a:r>
            <a:r>
              <a:rPr lang="en-US" dirty="0" err="1"/>
              <a:t>Verbesserungen</a:t>
            </a:r>
            <a:endParaRPr lang="en-US" dirty="0"/>
          </a:p>
        </p:txBody>
      </p:sp>
      <p:pic>
        <p:nvPicPr>
          <p:cNvPr id="4" name="Grafik 3">
            <a:extLst>
              <a:ext uri="{FF2B5EF4-FFF2-40B4-BE49-F238E27FC236}">
                <a16:creationId xmlns:a16="http://schemas.microsoft.com/office/drawing/2014/main" id="{D3A959C1-FC5C-84E6-DF00-0F2DF719B5B4}"/>
              </a:ext>
            </a:extLst>
          </p:cNvPr>
          <p:cNvPicPr>
            <a:picLocks noChangeAspect="1"/>
          </p:cNvPicPr>
          <p:nvPr/>
        </p:nvPicPr>
        <p:blipFill>
          <a:blip r:embed="rId5"/>
          <a:stretch>
            <a:fillRect/>
          </a:stretch>
        </p:blipFill>
        <p:spPr>
          <a:xfrm>
            <a:off x="7988304" y="2703046"/>
            <a:ext cx="2431524" cy="3140308"/>
          </a:xfrm>
          <a:prstGeom prst="rect">
            <a:avLst/>
          </a:prstGeom>
        </p:spPr>
      </p:pic>
      <p:pic>
        <p:nvPicPr>
          <p:cNvPr id="6" name="Grafik 5">
            <a:extLst>
              <a:ext uri="{FF2B5EF4-FFF2-40B4-BE49-F238E27FC236}">
                <a16:creationId xmlns:a16="http://schemas.microsoft.com/office/drawing/2014/main" id="{1A53AAD3-A205-B59E-0EF7-522E3B6BC6B7}"/>
              </a:ext>
            </a:extLst>
          </p:cNvPr>
          <p:cNvPicPr>
            <a:picLocks noChangeAspect="1"/>
          </p:cNvPicPr>
          <p:nvPr/>
        </p:nvPicPr>
        <p:blipFill>
          <a:blip r:embed="rId6"/>
          <a:stretch>
            <a:fillRect/>
          </a:stretch>
        </p:blipFill>
        <p:spPr>
          <a:xfrm>
            <a:off x="675976" y="2564877"/>
            <a:ext cx="1855956" cy="3416647"/>
          </a:xfrm>
          <a:prstGeom prst="rect">
            <a:avLst/>
          </a:prstGeom>
        </p:spPr>
      </p:pic>
      <p:pic>
        <p:nvPicPr>
          <p:cNvPr id="10" name="Grafik 9">
            <a:extLst>
              <a:ext uri="{FF2B5EF4-FFF2-40B4-BE49-F238E27FC236}">
                <a16:creationId xmlns:a16="http://schemas.microsoft.com/office/drawing/2014/main" id="{AFDA9BE9-F89A-0DB5-4714-CBDDEA9FFB21}"/>
              </a:ext>
            </a:extLst>
          </p:cNvPr>
          <p:cNvPicPr>
            <a:picLocks noChangeAspect="1"/>
          </p:cNvPicPr>
          <p:nvPr/>
        </p:nvPicPr>
        <p:blipFill>
          <a:blip r:embed="rId7"/>
          <a:stretch>
            <a:fillRect/>
          </a:stretch>
        </p:blipFill>
        <p:spPr>
          <a:xfrm>
            <a:off x="3393727" y="4107522"/>
            <a:ext cx="2610214" cy="1086002"/>
          </a:xfrm>
          <a:prstGeom prst="rect">
            <a:avLst/>
          </a:prstGeom>
        </p:spPr>
      </p:pic>
      <p:sp>
        <p:nvSpPr>
          <p:cNvPr id="11" name="Rechteck 10">
            <a:extLst>
              <a:ext uri="{FF2B5EF4-FFF2-40B4-BE49-F238E27FC236}">
                <a16:creationId xmlns:a16="http://schemas.microsoft.com/office/drawing/2014/main" id="{64CE4B60-C238-EE16-05C5-746918FB6A05}"/>
              </a:ext>
            </a:extLst>
          </p:cNvPr>
          <p:cNvSpPr/>
          <p:nvPr/>
        </p:nvSpPr>
        <p:spPr>
          <a:xfrm>
            <a:off x="4217887" y="4580502"/>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6D7FFEF6-B93C-C6D3-1B6C-09D4025F8887}"/>
              </a:ext>
            </a:extLst>
          </p:cNvPr>
          <p:cNvSpPr txBox="1"/>
          <p:nvPr/>
        </p:nvSpPr>
        <p:spPr>
          <a:xfrm>
            <a:off x="8025770" y="5981524"/>
            <a:ext cx="2338254" cy="646331"/>
          </a:xfrm>
          <a:prstGeom prst="rect">
            <a:avLst/>
          </a:prstGeom>
          <a:noFill/>
        </p:spPr>
        <p:txBody>
          <a:bodyPr wrap="square" rtlCol="0">
            <a:spAutoFit/>
          </a:bodyPr>
          <a:lstStyle/>
          <a:p>
            <a:r>
              <a:rPr lang="de-DE" dirty="0"/>
              <a:t>Konsolidierung nach Spalten</a:t>
            </a:r>
          </a:p>
        </p:txBody>
      </p:sp>
      <p:pic>
        <p:nvPicPr>
          <p:cNvPr id="8" name="Grafik 7">
            <a:extLst>
              <a:ext uri="{FF2B5EF4-FFF2-40B4-BE49-F238E27FC236}">
                <a16:creationId xmlns:a16="http://schemas.microsoft.com/office/drawing/2014/main" id="{2F7D6B26-ACFB-E70D-4715-0236317F8365}"/>
              </a:ext>
            </a:extLst>
          </p:cNvPr>
          <p:cNvPicPr>
            <a:picLocks noChangeAspect="1"/>
          </p:cNvPicPr>
          <p:nvPr/>
        </p:nvPicPr>
        <p:blipFill>
          <a:blip r:embed="rId8"/>
          <a:stretch>
            <a:fillRect/>
          </a:stretch>
        </p:blipFill>
        <p:spPr>
          <a:xfrm>
            <a:off x="3887691" y="2748246"/>
            <a:ext cx="3082684" cy="1550837"/>
          </a:xfrm>
          <a:prstGeom prst="rect">
            <a:avLst/>
          </a:prstGeom>
        </p:spPr>
      </p:pic>
      <p:sp>
        <p:nvSpPr>
          <p:cNvPr id="16" name="Textfeld 15">
            <a:extLst>
              <a:ext uri="{FF2B5EF4-FFF2-40B4-BE49-F238E27FC236}">
                <a16:creationId xmlns:a16="http://schemas.microsoft.com/office/drawing/2014/main" id="{31A11668-7142-3FBC-1797-1604C53F1413}"/>
              </a:ext>
            </a:extLst>
          </p:cNvPr>
          <p:cNvSpPr txBox="1"/>
          <p:nvPr/>
        </p:nvSpPr>
        <p:spPr>
          <a:xfrm>
            <a:off x="3217170" y="5335193"/>
            <a:ext cx="2963328" cy="646331"/>
          </a:xfrm>
          <a:prstGeom prst="rect">
            <a:avLst/>
          </a:prstGeom>
          <a:noFill/>
        </p:spPr>
        <p:txBody>
          <a:bodyPr wrap="square" rtlCol="0">
            <a:spAutoFit/>
          </a:bodyPr>
          <a:lstStyle/>
          <a:p>
            <a:r>
              <a:rPr lang="de-DE" dirty="0"/>
              <a:t>Dialog zum Anzeigen versteckter Blätter</a:t>
            </a:r>
          </a:p>
        </p:txBody>
      </p:sp>
      <p:sp>
        <p:nvSpPr>
          <p:cNvPr id="17" name="Rechteck 16">
            <a:extLst>
              <a:ext uri="{FF2B5EF4-FFF2-40B4-BE49-F238E27FC236}">
                <a16:creationId xmlns:a16="http://schemas.microsoft.com/office/drawing/2014/main" id="{C0452099-E681-1954-2649-0A012DC4F589}"/>
              </a:ext>
            </a:extLst>
          </p:cNvPr>
          <p:cNvSpPr/>
          <p:nvPr/>
        </p:nvSpPr>
        <p:spPr>
          <a:xfrm>
            <a:off x="852533" y="3774584"/>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Textfeld 17">
            <a:extLst>
              <a:ext uri="{FF2B5EF4-FFF2-40B4-BE49-F238E27FC236}">
                <a16:creationId xmlns:a16="http://schemas.microsoft.com/office/drawing/2014/main" id="{736C079E-59CB-DA48-204F-7B09B676C70B}"/>
              </a:ext>
            </a:extLst>
          </p:cNvPr>
          <p:cNvSpPr txBox="1"/>
          <p:nvPr/>
        </p:nvSpPr>
        <p:spPr>
          <a:xfrm>
            <a:off x="455047" y="1811595"/>
            <a:ext cx="2963328" cy="646331"/>
          </a:xfrm>
          <a:prstGeom prst="rect">
            <a:avLst/>
          </a:prstGeom>
          <a:noFill/>
        </p:spPr>
        <p:txBody>
          <a:bodyPr wrap="square" rtlCol="0">
            <a:spAutoFit/>
          </a:bodyPr>
          <a:lstStyle/>
          <a:p>
            <a:r>
              <a:rPr lang="de-DE" dirty="0"/>
              <a:t>Liste aller Datenüberprüfungen</a:t>
            </a:r>
          </a:p>
        </p:txBody>
      </p:sp>
      <p:sp>
        <p:nvSpPr>
          <p:cNvPr id="19" name="Rechteck 18">
            <a:extLst>
              <a:ext uri="{FF2B5EF4-FFF2-40B4-BE49-F238E27FC236}">
                <a16:creationId xmlns:a16="http://schemas.microsoft.com/office/drawing/2014/main" id="{4443FB0B-17B1-2C22-2377-3A9B738CE2C1}"/>
              </a:ext>
            </a:extLst>
          </p:cNvPr>
          <p:cNvSpPr/>
          <p:nvPr/>
        </p:nvSpPr>
        <p:spPr>
          <a:xfrm>
            <a:off x="5794022" y="1810764"/>
            <a:ext cx="5994205" cy="369332"/>
          </a:xfrm>
          <a:prstGeom prst="rect">
            <a:avLst/>
          </a:prstGeom>
        </p:spPr>
        <p:txBody>
          <a:bodyPr wrap="none">
            <a:spAutoFit/>
          </a:bodyPr>
          <a:lstStyle/>
          <a:p>
            <a:r>
              <a:rPr lang="de-DE" dirty="0">
                <a:hlinkClick r:id="rId9"/>
              </a:rPr>
              <a:t>https://www.bkt-toolbox.de/overview_excel.html</a:t>
            </a:r>
            <a:r>
              <a:rPr lang="de-DE" dirty="0"/>
              <a:t> </a:t>
            </a:r>
          </a:p>
        </p:txBody>
      </p:sp>
      <p:sp>
        <p:nvSpPr>
          <p:cNvPr id="20" name="Textfeld 19">
            <a:extLst>
              <a:ext uri="{FF2B5EF4-FFF2-40B4-BE49-F238E27FC236}">
                <a16:creationId xmlns:a16="http://schemas.microsoft.com/office/drawing/2014/main" id="{1A66ADDD-5C60-501A-1759-A7BEA32E5746}"/>
              </a:ext>
            </a:extLst>
          </p:cNvPr>
          <p:cNvSpPr txBox="1"/>
          <p:nvPr/>
        </p:nvSpPr>
        <p:spPr>
          <a:xfrm>
            <a:off x="5794022" y="1527470"/>
            <a:ext cx="4625806" cy="369332"/>
          </a:xfrm>
          <a:prstGeom prst="rect">
            <a:avLst/>
          </a:prstGeom>
          <a:noFill/>
        </p:spPr>
        <p:txBody>
          <a:bodyPr wrap="square" rtlCol="0">
            <a:spAutoFit/>
          </a:bodyPr>
          <a:lstStyle/>
          <a:p>
            <a:r>
              <a:rPr lang="de-DE" dirty="0"/>
              <a:t>Neue Excel-Funktionsübersicht:</a:t>
            </a:r>
          </a:p>
        </p:txBody>
      </p:sp>
      <p:sp>
        <p:nvSpPr>
          <p:cNvPr id="21" name="Rechteck 20">
            <a:extLst>
              <a:ext uri="{FF2B5EF4-FFF2-40B4-BE49-F238E27FC236}">
                <a16:creationId xmlns:a16="http://schemas.microsoft.com/office/drawing/2014/main" id="{58E95C02-53A5-480C-3721-AE13265B704A}"/>
              </a:ext>
            </a:extLst>
          </p:cNvPr>
          <p:cNvSpPr/>
          <p:nvPr/>
        </p:nvSpPr>
        <p:spPr>
          <a:xfrm>
            <a:off x="8086203" y="3580185"/>
            <a:ext cx="868536" cy="41494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20563461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Kein Absturz mehr bei Auswahl von Tabellen</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Bessere Symbol-Farben bei dunklem Office-</a:t>
            </a:r>
            <a:r>
              <a:rPr lang="de-DE" dirty="0" err="1"/>
              <a:t>Theme</a:t>
            </a:r>
            <a:endParaRPr lang="de-DE" dirty="0"/>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Fehler in diversen Funktionen, die Zwischenablage verwenden</a:t>
            </a:r>
          </a:p>
        </p:txBody>
      </p:sp>
      <p:sp>
        <p:nvSpPr>
          <p:cNvPr id="8" name="Textfeld 7">
            <a:extLst>
              <a:ext uri="{FF2B5EF4-FFF2-40B4-BE49-F238E27FC236}">
                <a16:creationId xmlns:a16="http://schemas.microsoft.com/office/drawing/2014/main" id="{7D0B324C-4563-7525-1FE7-11543E6D988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a:t>Excel: </a:t>
            </a:r>
            <a:r>
              <a:rPr lang="de-DE" dirty="0"/>
              <a:t>Konsolidierungsfunktionen gehen wieder</a:t>
            </a:r>
          </a:p>
        </p:txBody>
      </p:sp>
    </p:spTree>
    <p:extLst>
      <p:ext uri="{BB962C8B-B14F-4D97-AF65-F5344CB8AC3E}">
        <p14:creationId xmlns:p14="http://schemas.microsoft.com/office/powerpoint/2010/main" val="13193154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2.7.3</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26055091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CE68ADB7-A038-8F7C-0C1B-25DBA8DDE11D}"/>
              </a:ext>
            </a:extLst>
          </p:cNvPr>
          <p:cNvGraphicFramePr>
            <a:graphicFrameLocks noChangeAspect="1"/>
          </p:cNvGraphicFramePr>
          <p:nvPr>
            <p:custDataLst>
              <p:tags r:id="rId1"/>
            </p:custDataLst>
            <p:extLst>
              <p:ext uri="{D42A27DB-BD31-4B8C-83A1-F6EECF244321}">
                <p14:modId xmlns:p14="http://schemas.microsoft.com/office/powerpoint/2010/main" val="3427017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40" imgH="540" progId="TCLayout.ActiveDocument.1">
                  <p:embed/>
                </p:oleObj>
              </mc:Choice>
              <mc:Fallback>
                <p:oleObj name="think-cell Folie" r:id="rId3" imgW="540"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8E773DA-3D5C-F5D3-F0D2-F453757D0668}"/>
              </a:ext>
            </a:extLst>
          </p:cNvPr>
          <p:cNvSpPr>
            <a:spLocks noGrp="1"/>
          </p:cNvSpPr>
          <p:nvPr>
            <p:ph type="title"/>
          </p:nvPr>
        </p:nvSpPr>
        <p:spPr/>
        <p:txBody>
          <a:bodyPr vert="horz"/>
          <a:lstStyle/>
          <a:p>
            <a:r>
              <a:rPr lang="de-DE"/>
              <a:t>Verbesserte Font-Icon Suche</a:t>
            </a:r>
            <a:endParaRPr lang="de-DE" dirty="0"/>
          </a:p>
        </p:txBody>
      </p:sp>
      <p:pic>
        <p:nvPicPr>
          <p:cNvPr id="5" name="Grafik 4">
            <a:extLst>
              <a:ext uri="{FF2B5EF4-FFF2-40B4-BE49-F238E27FC236}">
                <a16:creationId xmlns:a16="http://schemas.microsoft.com/office/drawing/2014/main" id="{EE640ECA-4708-211E-7802-0778B614982F}"/>
              </a:ext>
            </a:extLst>
          </p:cNvPr>
          <p:cNvPicPr>
            <a:picLocks noChangeAspect="1"/>
          </p:cNvPicPr>
          <p:nvPr/>
        </p:nvPicPr>
        <p:blipFill>
          <a:blip r:embed="rId5"/>
          <a:stretch>
            <a:fillRect/>
          </a:stretch>
        </p:blipFill>
        <p:spPr>
          <a:xfrm>
            <a:off x="761971" y="2419799"/>
            <a:ext cx="3686689" cy="1000265"/>
          </a:xfrm>
          <a:prstGeom prst="rect">
            <a:avLst/>
          </a:prstGeom>
        </p:spPr>
      </p:pic>
      <p:pic>
        <p:nvPicPr>
          <p:cNvPr id="7" name="Grafik 6">
            <a:extLst>
              <a:ext uri="{FF2B5EF4-FFF2-40B4-BE49-F238E27FC236}">
                <a16:creationId xmlns:a16="http://schemas.microsoft.com/office/drawing/2014/main" id="{6157AC2F-FA5F-07F2-18B6-3806885E71C7}"/>
              </a:ext>
            </a:extLst>
          </p:cNvPr>
          <p:cNvPicPr>
            <a:picLocks noChangeAspect="1"/>
          </p:cNvPicPr>
          <p:nvPr/>
        </p:nvPicPr>
        <p:blipFill>
          <a:blip r:embed="rId6"/>
          <a:stretch>
            <a:fillRect/>
          </a:stretch>
        </p:blipFill>
        <p:spPr>
          <a:xfrm>
            <a:off x="2009957" y="4438947"/>
            <a:ext cx="1181265" cy="895475"/>
          </a:xfrm>
          <a:prstGeom prst="rect">
            <a:avLst/>
          </a:prstGeom>
        </p:spPr>
      </p:pic>
      <p:pic>
        <p:nvPicPr>
          <p:cNvPr id="9" name="Grafik 8">
            <a:extLst>
              <a:ext uri="{FF2B5EF4-FFF2-40B4-BE49-F238E27FC236}">
                <a16:creationId xmlns:a16="http://schemas.microsoft.com/office/drawing/2014/main" id="{E2106EBF-716D-C94F-5041-B1A7FBDF19DE}"/>
              </a:ext>
            </a:extLst>
          </p:cNvPr>
          <p:cNvPicPr>
            <a:picLocks noChangeAspect="1"/>
          </p:cNvPicPr>
          <p:nvPr/>
        </p:nvPicPr>
        <p:blipFill>
          <a:blip r:embed="rId7"/>
          <a:stretch>
            <a:fillRect/>
          </a:stretch>
        </p:blipFill>
        <p:spPr>
          <a:xfrm>
            <a:off x="5543284" y="2104841"/>
            <a:ext cx="2666949" cy="2413371"/>
          </a:xfrm>
          <a:prstGeom prst="rect">
            <a:avLst/>
          </a:prstGeom>
        </p:spPr>
      </p:pic>
      <p:pic>
        <p:nvPicPr>
          <p:cNvPr id="13" name="Grafik 12">
            <a:extLst>
              <a:ext uri="{FF2B5EF4-FFF2-40B4-BE49-F238E27FC236}">
                <a16:creationId xmlns:a16="http://schemas.microsoft.com/office/drawing/2014/main" id="{61457CE1-F4AE-9B17-673B-DA7C6F939C6B}"/>
              </a:ext>
            </a:extLst>
          </p:cNvPr>
          <p:cNvPicPr>
            <a:picLocks noChangeAspect="1"/>
          </p:cNvPicPr>
          <p:nvPr/>
        </p:nvPicPr>
        <p:blipFill>
          <a:blip r:embed="rId8"/>
          <a:stretch>
            <a:fillRect/>
          </a:stretch>
        </p:blipFill>
        <p:spPr>
          <a:xfrm>
            <a:off x="8937693" y="3876736"/>
            <a:ext cx="2299782" cy="2183259"/>
          </a:xfrm>
          <a:prstGeom prst="rect">
            <a:avLst/>
          </a:prstGeom>
        </p:spPr>
      </p:pic>
      <p:sp>
        <p:nvSpPr>
          <p:cNvPr id="18" name="Textfeld 17">
            <a:extLst>
              <a:ext uri="{FF2B5EF4-FFF2-40B4-BE49-F238E27FC236}">
                <a16:creationId xmlns:a16="http://schemas.microsoft.com/office/drawing/2014/main" id="{60DED448-6A93-5BE4-95B2-2200BBB5B91C}"/>
              </a:ext>
            </a:extLst>
          </p:cNvPr>
          <p:cNvSpPr txBox="1"/>
          <p:nvPr/>
        </p:nvSpPr>
        <p:spPr>
          <a:xfrm>
            <a:off x="752522" y="3553571"/>
            <a:ext cx="3696137" cy="646331"/>
          </a:xfrm>
          <a:prstGeom prst="rect">
            <a:avLst/>
          </a:prstGeom>
          <a:noFill/>
        </p:spPr>
        <p:txBody>
          <a:bodyPr wrap="square" rtlCol="0">
            <a:spAutoFit/>
          </a:bodyPr>
          <a:lstStyle/>
          <a:p>
            <a:r>
              <a:rPr lang="de-DE"/>
              <a:t>Fortschrittsbalken während Indexierung</a:t>
            </a:r>
            <a:endParaRPr lang="de-DE" dirty="0"/>
          </a:p>
        </p:txBody>
      </p:sp>
      <p:sp>
        <p:nvSpPr>
          <p:cNvPr id="19" name="Textfeld 18">
            <a:extLst>
              <a:ext uri="{FF2B5EF4-FFF2-40B4-BE49-F238E27FC236}">
                <a16:creationId xmlns:a16="http://schemas.microsoft.com/office/drawing/2014/main" id="{F983D71D-167B-0228-3B8B-D1F672584DB1}"/>
              </a:ext>
            </a:extLst>
          </p:cNvPr>
          <p:cNvSpPr txBox="1"/>
          <p:nvPr/>
        </p:nvSpPr>
        <p:spPr>
          <a:xfrm>
            <a:off x="752522" y="5449943"/>
            <a:ext cx="3696137" cy="369332"/>
          </a:xfrm>
          <a:prstGeom prst="rect">
            <a:avLst/>
          </a:prstGeom>
          <a:noFill/>
        </p:spPr>
        <p:txBody>
          <a:bodyPr wrap="square" rtlCol="0">
            <a:spAutoFit/>
          </a:bodyPr>
          <a:lstStyle/>
          <a:p>
            <a:r>
              <a:rPr lang="de-DE"/>
              <a:t>Ergebnisse an neuer Position</a:t>
            </a:r>
            <a:endParaRPr lang="de-DE" dirty="0"/>
          </a:p>
        </p:txBody>
      </p:sp>
      <p:sp>
        <p:nvSpPr>
          <p:cNvPr id="20" name="Textfeld 19">
            <a:extLst>
              <a:ext uri="{FF2B5EF4-FFF2-40B4-BE49-F238E27FC236}">
                <a16:creationId xmlns:a16="http://schemas.microsoft.com/office/drawing/2014/main" id="{4566C024-9C6E-0DBB-AC4E-1E9C397A2B1D}"/>
              </a:ext>
            </a:extLst>
          </p:cNvPr>
          <p:cNvSpPr txBox="1"/>
          <p:nvPr/>
        </p:nvSpPr>
        <p:spPr>
          <a:xfrm>
            <a:off x="8354593" y="2104841"/>
            <a:ext cx="2999207" cy="923330"/>
          </a:xfrm>
          <a:prstGeom prst="rect">
            <a:avLst/>
          </a:prstGeom>
          <a:noFill/>
        </p:spPr>
        <p:txBody>
          <a:bodyPr wrap="square" rtlCol="0">
            <a:spAutoFit/>
          </a:bodyPr>
          <a:lstStyle/>
          <a:p>
            <a:r>
              <a:rPr lang="de-DE" dirty="0"/>
              <a:t>Suche in der gesamten Unicode-Datenbank nach Symbolen</a:t>
            </a:r>
          </a:p>
        </p:txBody>
      </p:sp>
      <p:sp>
        <p:nvSpPr>
          <p:cNvPr id="21" name="Textfeld 20">
            <a:extLst>
              <a:ext uri="{FF2B5EF4-FFF2-40B4-BE49-F238E27FC236}">
                <a16:creationId xmlns:a16="http://schemas.microsoft.com/office/drawing/2014/main" id="{CA07DB4B-7A46-8B78-E9AA-696AF6D19548}"/>
              </a:ext>
            </a:extLst>
          </p:cNvPr>
          <p:cNvSpPr txBox="1"/>
          <p:nvPr/>
        </p:nvSpPr>
        <p:spPr>
          <a:xfrm>
            <a:off x="5779775" y="4943248"/>
            <a:ext cx="3165054" cy="1200329"/>
          </a:xfrm>
          <a:prstGeom prst="rect">
            <a:avLst/>
          </a:prstGeom>
          <a:noFill/>
        </p:spPr>
        <p:txBody>
          <a:bodyPr wrap="square" rtlCol="0">
            <a:spAutoFit/>
          </a:bodyPr>
          <a:lstStyle/>
          <a:p>
            <a:r>
              <a:rPr lang="de-DE" dirty="0"/>
              <a:t>Wählbare Schriftart für Rendering der Unicode-Symbole (Standard ist Segoe UI Emoji)</a:t>
            </a:r>
          </a:p>
        </p:txBody>
      </p:sp>
    </p:spTree>
    <p:extLst>
      <p:ext uri="{BB962C8B-B14F-4D97-AF65-F5344CB8AC3E}">
        <p14:creationId xmlns:p14="http://schemas.microsoft.com/office/powerpoint/2010/main" val="37266834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570750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 name="[BKT] Segmented Circle 10">
            <a:extLst>
              <a:ext uri="{FF2B5EF4-FFF2-40B4-BE49-F238E27FC236}">
                <a16:creationId xmlns:a16="http://schemas.microsoft.com/office/drawing/2014/main" id="{C0C08428-DBC5-4410-B0A3-093DF0B26919}"/>
              </a:ext>
            </a:extLst>
          </p:cNvPr>
          <p:cNvGrpSpPr/>
          <p:nvPr/>
        </p:nvGrpSpPr>
        <p:grpSpPr>
          <a:xfrm>
            <a:off x="662099" y="1554026"/>
            <a:ext cx="1445493" cy="1445493"/>
            <a:chOff x="1100000" y="1099999"/>
            <a:chExt cx="2880000" cy="2880000"/>
          </a:xfrm>
        </p:grpSpPr>
        <p:sp>
          <p:nvSpPr>
            <p:cNvPr id="3" name="Freihandform: Form 2">
              <a:extLst>
                <a:ext uri="{FF2B5EF4-FFF2-40B4-BE49-F238E27FC236}">
                  <a16:creationId xmlns:a16="http://schemas.microsoft.com/office/drawing/2014/main" id="{146A057A-D66A-4A72-884E-F0DE2D7A92F7}"/>
                </a:ext>
              </a:extLst>
            </p:cNvPr>
            <p:cNvSpPr/>
            <p:nvPr/>
          </p:nvSpPr>
          <p:spPr>
            <a:xfrm>
              <a:off x="2824241" y="2540000"/>
              <a:ext cx="1155759" cy="1366548"/>
            </a:xfrm>
            <a:custGeom>
              <a:avLst/>
              <a:gdLst>
                <a:gd name="connsiteX0" fmla="*/ 1168459 w 1168459"/>
                <a:gd name="connsiteY0" fmla="*/ 0 h 1366548"/>
                <a:gd name="connsiteX1" fmla="*/ 170753 w 1168459"/>
                <a:gd name="connsiteY1" fmla="*/ 1366548 h 1366548"/>
                <a:gd name="connsiteX2" fmla="*/ 0 w 1168459"/>
                <a:gd name="connsiteY2" fmla="*/ 1233646 h 1366548"/>
                <a:gd name="connsiteX3" fmla="*/ 57004 w 1168459"/>
                <a:gd name="connsiteY3" fmla="*/ 1024911 h 1366548"/>
                <a:gd name="connsiteX4" fmla="*/ 795759 w 1168459"/>
                <a:gd name="connsiteY4" fmla="*/ 0 h 1366548"/>
                <a:gd name="connsiteX5" fmla="*/ 975759 w 1168459"/>
                <a:gd name="connsiteY5" fmla="*/ 120000 h 1366548"/>
                <a:gd name="connsiteX0" fmla="*/ 1155759 w 1155759"/>
                <a:gd name="connsiteY0" fmla="*/ 0 h 1366548"/>
                <a:gd name="connsiteX1" fmla="*/ 170753 w 1155759"/>
                <a:gd name="connsiteY1" fmla="*/ 1366548 h 1366548"/>
                <a:gd name="connsiteX2" fmla="*/ 0 w 1155759"/>
                <a:gd name="connsiteY2" fmla="*/ 1233646 h 1366548"/>
                <a:gd name="connsiteX3" fmla="*/ 57004 w 1155759"/>
                <a:gd name="connsiteY3" fmla="*/ 1024911 h 1366548"/>
                <a:gd name="connsiteX4" fmla="*/ 795759 w 1155759"/>
                <a:gd name="connsiteY4" fmla="*/ 0 h 1366548"/>
                <a:gd name="connsiteX5" fmla="*/ 975759 w 1155759"/>
                <a:gd name="connsiteY5" fmla="*/ 120000 h 136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5759" h="1366548">
                  <a:moveTo>
                    <a:pt x="1155759" y="0"/>
                  </a:moveTo>
                  <a:cubicBezTo>
                    <a:pt x="1155759" y="635904"/>
                    <a:pt x="742882" y="1175962"/>
                    <a:pt x="170753" y="1366548"/>
                  </a:cubicBezTo>
                  <a:lnTo>
                    <a:pt x="0" y="1233646"/>
                  </a:lnTo>
                  <a:lnTo>
                    <a:pt x="57004" y="1024911"/>
                  </a:lnTo>
                  <a:cubicBezTo>
                    <a:pt x="486102" y="881971"/>
                    <a:pt x="795759" y="476928"/>
                    <a:pt x="795759" y="0"/>
                  </a:cubicBezTo>
                  <a:lnTo>
                    <a:pt x="975759" y="12000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ihandform: Form 5">
              <a:extLst>
                <a:ext uri="{FF2B5EF4-FFF2-40B4-BE49-F238E27FC236}">
                  <a16:creationId xmlns:a16="http://schemas.microsoft.com/office/drawing/2014/main" id="{D825D329-BAA6-423C-A85B-2BC14DEDD130}"/>
                </a:ext>
              </a:extLst>
            </p:cNvPr>
            <p:cNvSpPr/>
            <p:nvPr/>
          </p:nvSpPr>
          <p:spPr>
            <a:xfrm>
              <a:off x="1377955" y="3177700"/>
              <a:ext cx="1617039" cy="802299"/>
            </a:xfrm>
            <a:custGeom>
              <a:avLst/>
              <a:gdLst>
                <a:gd name="connsiteX0" fmla="*/ 1629739 w 1629739"/>
                <a:gd name="connsiteY0" fmla="*/ 728847 h 802299"/>
                <a:gd name="connsiteX1" fmla="*/ 1162045 w 1629739"/>
                <a:gd name="connsiteY1" fmla="*/ 802299 h 802299"/>
                <a:gd name="connsiteX2" fmla="*/ 0 w 1629739"/>
                <a:gd name="connsiteY2" fmla="*/ 212567 h 802299"/>
                <a:gd name="connsiteX3" fmla="*/ 74400 w 1629739"/>
                <a:gd name="connsiteY3" fmla="*/ 9447 h 802299"/>
                <a:gd name="connsiteX4" fmla="*/ 290511 w 1629739"/>
                <a:gd name="connsiteY4" fmla="*/ 0 h 802299"/>
                <a:gd name="connsiteX5" fmla="*/ 1162045 w 1629739"/>
                <a:gd name="connsiteY5" fmla="*/ 442299 h 802299"/>
                <a:gd name="connsiteX6" fmla="*/ 1503290 w 1629739"/>
                <a:gd name="connsiteY6" fmla="*/ 387210 h 802299"/>
                <a:gd name="connsiteX7" fmla="*/ 1446286 w 1629739"/>
                <a:gd name="connsiteY7" fmla="*/ 595945 h 802299"/>
                <a:gd name="connsiteX0" fmla="*/ 1617039 w 1617039"/>
                <a:gd name="connsiteY0" fmla="*/ 728848 h 802299"/>
                <a:gd name="connsiteX1" fmla="*/ 1162045 w 1617039"/>
                <a:gd name="connsiteY1" fmla="*/ 802299 h 802299"/>
                <a:gd name="connsiteX2" fmla="*/ 0 w 1617039"/>
                <a:gd name="connsiteY2" fmla="*/ 212567 h 802299"/>
                <a:gd name="connsiteX3" fmla="*/ 74400 w 1617039"/>
                <a:gd name="connsiteY3" fmla="*/ 9447 h 802299"/>
                <a:gd name="connsiteX4" fmla="*/ 290511 w 1617039"/>
                <a:gd name="connsiteY4" fmla="*/ 0 h 802299"/>
                <a:gd name="connsiteX5" fmla="*/ 1162045 w 1617039"/>
                <a:gd name="connsiteY5" fmla="*/ 442299 h 802299"/>
                <a:gd name="connsiteX6" fmla="*/ 1503290 w 1617039"/>
                <a:gd name="connsiteY6" fmla="*/ 387210 h 802299"/>
                <a:gd name="connsiteX7" fmla="*/ 1446286 w 1617039"/>
                <a:gd name="connsiteY7" fmla="*/ 595945 h 80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7039" h="802299">
                  <a:moveTo>
                    <a:pt x="1617039" y="728848"/>
                  </a:moveTo>
                  <a:cubicBezTo>
                    <a:pt x="1474007" y="776494"/>
                    <a:pt x="1321021" y="802299"/>
                    <a:pt x="1162045" y="802299"/>
                  </a:cubicBezTo>
                  <a:cubicBezTo>
                    <a:pt x="685117" y="802299"/>
                    <a:pt x="262103" y="570056"/>
                    <a:pt x="0" y="212567"/>
                  </a:cubicBezTo>
                  <a:lnTo>
                    <a:pt x="74400" y="9447"/>
                  </a:lnTo>
                  <a:lnTo>
                    <a:pt x="290511" y="0"/>
                  </a:lnTo>
                  <a:cubicBezTo>
                    <a:pt x="487088" y="268117"/>
                    <a:pt x="804349" y="442299"/>
                    <a:pt x="1162045" y="442299"/>
                  </a:cubicBezTo>
                  <a:cubicBezTo>
                    <a:pt x="1281277" y="442299"/>
                    <a:pt x="1396016" y="422945"/>
                    <a:pt x="1503290" y="387210"/>
                  </a:cubicBezTo>
                  <a:lnTo>
                    <a:pt x="1446286" y="59594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ihandform: Form 6">
              <a:extLst>
                <a:ext uri="{FF2B5EF4-FFF2-40B4-BE49-F238E27FC236}">
                  <a16:creationId xmlns:a16="http://schemas.microsoft.com/office/drawing/2014/main" id="{FC614CD9-AD9E-40A7-A3A6-AE140D23E3D5}"/>
                </a:ext>
              </a:extLst>
            </p:cNvPr>
            <p:cNvSpPr/>
            <p:nvPr/>
          </p:nvSpPr>
          <p:spPr>
            <a:xfrm>
              <a:off x="1100000" y="1689732"/>
              <a:ext cx="568466" cy="1700536"/>
            </a:xfrm>
            <a:custGeom>
              <a:avLst/>
              <a:gdLst>
                <a:gd name="connsiteX0" fmla="*/ 290655 w 568466"/>
                <a:gd name="connsiteY0" fmla="*/ 1700536 h 1700536"/>
                <a:gd name="connsiteX1" fmla="*/ 0 w 568466"/>
                <a:gd name="connsiteY1" fmla="*/ 850268 h 1700536"/>
                <a:gd name="connsiteX2" fmla="*/ 277955 w 568466"/>
                <a:gd name="connsiteY2" fmla="*/ 0 h 1700536"/>
                <a:gd name="connsiteX3" fmla="*/ 494066 w 568466"/>
                <a:gd name="connsiteY3" fmla="*/ 9446 h 1700536"/>
                <a:gd name="connsiteX4" fmla="*/ 568466 w 568466"/>
                <a:gd name="connsiteY4" fmla="*/ 212567 h 1700536"/>
                <a:gd name="connsiteX5" fmla="*/ 360000 w 568466"/>
                <a:gd name="connsiteY5" fmla="*/ 850268 h 1700536"/>
                <a:gd name="connsiteX6" fmla="*/ 568466 w 568466"/>
                <a:gd name="connsiteY6" fmla="*/ 1487969 h 1700536"/>
                <a:gd name="connsiteX7" fmla="*/ 352355 w 568466"/>
                <a:gd name="connsiteY7" fmla="*/ 1497416 h 1700536"/>
                <a:gd name="connsiteX0" fmla="*/ 277955 w 568466"/>
                <a:gd name="connsiteY0" fmla="*/ 1700536 h 1700536"/>
                <a:gd name="connsiteX1" fmla="*/ 0 w 568466"/>
                <a:gd name="connsiteY1" fmla="*/ 850268 h 1700536"/>
                <a:gd name="connsiteX2" fmla="*/ 277955 w 568466"/>
                <a:gd name="connsiteY2" fmla="*/ 0 h 1700536"/>
                <a:gd name="connsiteX3" fmla="*/ 494066 w 568466"/>
                <a:gd name="connsiteY3" fmla="*/ 9446 h 1700536"/>
                <a:gd name="connsiteX4" fmla="*/ 568466 w 568466"/>
                <a:gd name="connsiteY4" fmla="*/ 212567 h 1700536"/>
                <a:gd name="connsiteX5" fmla="*/ 360000 w 568466"/>
                <a:gd name="connsiteY5" fmla="*/ 850268 h 1700536"/>
                <a:gd name="connsiteX6" fmla="*/ 568466 w 568466"/>
                <a:gd name="connsiteY6" fmla="*/ 1487969 h 1700536"/>
                <a:gd name="connsiteX7" fmla="*/ 352355 w 568466"/>
                <a:gd name="connsiteY7" fmla="*/ 1497416 h 1700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8466" h="1700536">
                  <a:moveTo>
                    <a:pt x="277955" y="1700536"/>
                  </a:moveTo>
                  <a:cubicBezTo>
                    <a:pt x="103219" y="1462210"/>
                    <a:pt x="0" y="1168220"/>
                    <a:pt x="0" y="850268"/>
                  </a:cubicBezTo>
                  <a:cubicBezTo>
                    <a:pt x="0" y="532316"/>
                    <a:pt x="103219" y="238326"/>
                    <a:pt x="277955" y="0"/>
                  </a:cubicBezTo>
                  <a:lnTo>
                    <a:pt x="494066" y="9446"/>
                  </a:lnTo>
                  <a:lnTo>
                    <a:pt x="568466" y="212567"/>
                  </a:lnTo>
                  <a:cubicBezTo>
                    <a:pt x="437414" y="391311"/>
                    <a:pt x="360000" y="611804"/>
                    <a:pt x="360000" y="850268"/>
                  </a:cubicBezTo>
                  <a:cubicBezTo>
                    <a:pt x="360000" y="1088732"/>
                    <a:pt x="437414" y="1309225"/>
                    <a:pt x="568466" y="1487969"/>
                  </a:cubicBezTo>
                  <a:lnTo>
                    <a:pt x="352355" y="149741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ihandform: Form 7">
              <a:extLst>
                <a:ext uri="{FF2B5EF4-FFF2-40B4-BE49-F238E27FC236}">
                  <a16:creationId xmlns:a16="http://schemas.microsoft.com/office/drawing/2014/main" id="{11101BBC-6028-44CA-B599-28DFB31A33BA}"/>
                </a:ext>
              </a:extLst>
            </p:cNvPr>
            <p:cNvSpPr/>
            <p:nvPr/>
          </p:nvSpPr>
          <p:spPr>
            <a:xfrm>
              <a:off x="1377955" y="1099999"/>
              <a:ext cx="1674044" cy="802299"/>
            </a:xfrm>
            <a:custGeom>
              <a:avLst/>
              <a:gdLst>
                <a:gd name="connsiteX0" fmla="*/ 0 w 1661344"/>
                <a:gd name="connsiteY0" fmla="*/ 589732 h 802299"/>
                <a:gd name="connsiteX1" fmla="*/ 1149345 w 1661344"/>
                <a:gd name="connsiteY1" fmla="*/ 0 h 802299"/>
                <a:gd name="connsiteX2" fmla="*/ 1604339 w 1661344"/>
                <a:gd name="connsiteY2" fmla="*/ 73452 h 802299"/>
                <a:gd name="connsiteX3" fmla="*/ 1661344 w 1661344"/>
                <a:gd name="connsiteY3" fmla="*/ 282186 h 802299"/>
                <a:gd name="connsiteX4" fmla="*/ 1490590 w 1661344"/>
                <a:gd name="connsiteY4" fmla="*/ 415089 h 802299"/>
                <a:gd name="connsiteX5" fmla="*/ 1149345 w 1661344"/>
                <a:gd name="connsiteY5" fmla="*/ 360000 h 802299"/>
                <a:gd name="connsiteX6" fmla="*/ 277811 w 1661344"/>
                <a:gd name="connsiteY6" fmla="*/ 802299 h 802299"/>
                <a:gd name="connsiteX7" fmla="*/ 203411 w 1661344"/>
                <a:gd name="connsiteY7" fmla="*/ 599178 h 802299"/>
                <a:gd name="connsiteX0" fmla="*/ 0 w 1674044"/>
                <a:gd name="connsiteY0" fmla="*/ 589733 h 802299"/>
                <a:gd name="connsiteX1" fmla="*/ 1162045 w 1674044"/>
                <a:gd name="connsiteY1" fmla="*/ 0 h 802299"/>
                <a:gd name="connsiteX2" fmla="*/ 1617039 w 1674044"/>
                <a:gd name="connsiteY2" fmla="*/ 73452 h 802299"/>
                <a:gd name="connsiteX3" fmla="*/ 1674044 w 1674044"/>
                <a:gd name="connsiteY3" fmla="*/ 282186 h 802299"/>
                <a:gd name="connsiteX4" fmla="*/ 1503290 w 1674044"/>
                <a:gd name="connsiteY4" fmla="*/ 415089 h 802299"/>
                <a:gd name="connsiteX5" fmla="*/ 1162045 w 1674044"/>
                <a:gd name="connsiteY5" fmla="*/ 360000 h 802299"/>
                <a:gd name="connsiteX6" fmla="*/ 290511 w 1674044"/>
                <a:gd name="connsiteY6" fmla="*/ 802299 h 802299"/>
                <a:gd name="connsiteX7" fmla="*/ 216111 w 1674044"/>
                <a:gd name="connsiteY7" fmla="*/ 599178 h 80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4044" h="802299">
                  <a:moveTo>
                    <a:pt x="0" y="589733"/>
                  </a:moveTo>
                  <a:cubicBezTo>
                    <a:pt x="262103" y="232243"/>
                    <a:pt x="685117" y="0"/>
                    <a:pt x="1162045" y="0"/>
                  </a:cubicBezTo>
                  <a:cubicBezTo>
                    <a:pt x="1321021" y="0"/>
                    <a:pt x="1474007" y="25805"/>
                    <a:pt x="1617039" y="73452"/>
                  </a:cubicBezTo>
                  <a:lnTo>
                    <a:pt x="1674044" y="282186"/>
                  </a:lnTo>
                  <a:lnTo>
                    <a:pt x="1503290" y="415089"/>
                  </a:lnTo>
                  <a:cubicBezTo>
                    <a:pt x="1396016" y="379354"/>
                    <a:pt x="1281277" y="360000"/>
                    <a:pt x="1162045" y="360000"/>
                  </a:cubicBezTo>
                  <a:cubicBezTo>
                    <a:pt x="804349" y="360000"/>
                    <a:pt x="487088" y="534182"/>
                    <a:pt x="290511" y="802299"/>
                  </a:cubicBezTo>
                  <a:lnTo>
                    <a:pt x="216111" y="599178"/>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ihandform: Form 8">
              <a:extLst>
                <a:ext uri="{FF2B5EF4-FFF2-40B4-BE49-F238E27FC236}">
                  <a16:creationId xmlns:a16="http://schemas.microsoft.com/office/drawing/2014/main" id="{36618F16-1C10-4278-8F62-BEDC532C4384}"/>
                </a:ext>
              </a:extLst>
            </p:cNvPr>
            <p:cNvSpPr/>
            <p:nvPr/>
          </p:nvSpPr>
          <p:spPr>
            <a:xfrm>
              <a:off x="2881244" y="1173452"/>
              <a:ext cx="1098755" cy="1486548"/>
            </a:xfrm>
            <a:custGeom>
              <a:avLst/>
              <a:gdLst>
                <a:gd name="connsiteX0" fmla="*/ 126449 w 1098755"/>
                <a:gd name="connsiteY0" fmla="*/ 0 h 1486548"/>
                <a:gd name="connsiteX1" fmla="*/ 1098755 w 1098755"/>
                <a:gd name="connsiteY1" fmla="*/ 1366548 h 1486548"/>
                <a:gd name="connsiteX2" fmla="*/ 918755 w 1098755"/>
                <a:gd name="connsiteY2" fmla="*/ 1486548 h 1486548"/>
                <a:gd name="connsiteX3" fmla="*/ 738755 w 1098755"/>
                <a:gd name="connsiteY3" fmla="*/ 1366548 h 1486548"/>
                <a:gd name="connsiteX4" fmla="*/ 0 w 1098755"/>
                <a:gd name="connsiteY4" fmla="*/ 341637 h 1486548"/>
                <a:gd name="connsiteX5" fmla="*/ 170754 w 1098755"/>
                <a:gd name="connsiteY5" fmla="*/ 208734 h 1486548"/>
                <a:gd name="connsiteX0" fmla="*/ 113750 w 1098755"/>
                <a:gd name="connsiteY0" fmla="*/ 0 h 1486548"/>
                <a:gd name="connsiteX1" fmla="*/ 1098755 w 1098755"/>
                <a:gd name="connsiteY1" fmla="*/ 1366548 h 1486548"/>
                <a:gd name="connsiteX2" fmla="*/ 918755 w 1098755"/>
                <a:gd name="connsiteY2" fmla="*/ 1486548 h 1486548"/>
                <a:gd name="connsiteX3" fmla="*/ 738755 w 1098755"/>
                <a:gd name="connsiteY3" fmla="*/ 1366548 h 1486548"/>
                <a:gd name="connsiteX4" fmla="*/ 0 w 1098755"/>
                <a:gd name="connsiteY4" fmla="*/ 341637 h 1486548"/>
                <a:gd name="connsiteX5" fmla="*/ 170754 w 1098755"/>
                <a:gd name="connsiteY5" fmla="*/ 208734 h 148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755" h="1486548">
                  <a:moveTo>
                    <a:pt x="113750" y="0"/>
                  </a:moveTo>
                  <a:cubicBezTo>
                    <a:pt x="685878" y="190586"/>
                    <a:pt x="1098755" y="730644"/>
                    <a:pt x="1098755" y="1366548"/>
                  </a:cubicBezTo>
                  <a:lnTo>
                    <a:pt x="918755" y="1486548"/>
                  </a:lnTo>
                  <a:lnTo>
                    <a:pt x="738755" y="1366548"/>
                  </a:lnTo>
                  <a:cubicBezTo>
                    <a:pt x="738755" y="889620"/>
                    <a:pt x="429098" y="484577"/>
                    <a:pt x="0" y="341637"/>
                  </a:cubicBezTo>
                  <a:lnTo>
                    <a:pt x="170754" y="208734"/>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vert="horz"/>
          <a:lstStyle/>
          <a:p>
            <a:r>
              <a:rPr lang="de-DE" dirty="0"/>
              <a:t>Small </a:t>
            </a:r>
            <a:r>
              <a:rPr lang="de-DE" dirty="0" err="1"/>
              <a:t>Improvements</a:t>
            </a:r>
            <a:endParaRPr lang="de-DE" dirty="0"/>
          </a:p>
        </p:txBody>
      </p:sp>
      <p:pic>
        <p:nvPicPr>
          <p:cNvPr id="30" name="Grafik 29">
            <a:extLst>
              <a:ext uri="{FF2B5EF4-FFF2-40B4-BE49-F238E27FC236}">
                <a16:creationId xmlns:a16="http://schemas.microsoft.com/office/drawing/2014/main" id="{7B8F9623-5D64-45A1-8825-949C724BCC90}"/>
              </a:ext>
            </a:extLst>
          </p:cNvPr>
          <p:cNvPicPr>
            <a:picLocks noChangeAspect="1"/>
          </p:cNvPicPr>
          <p:nvPr/>
        </p:nvPicPr>
        <p:blipFill>
          <a:blip r:embed="rId6"/>
          <a:stretch>
            <a:fillRect/>
          </a:stretch>
        </p:blipFill>
        <p:spPr>
          <a:xfrm>
            <a:off x="1458851" y="2167874"/>
            <a:ext cx="1690093" cy="1325563"/>
          </a:xfrm>
          <a:prstGeom prst="rect">
            <a:avLst/>
          </a:prstGeom>
        </p:spPr>
      </p:pic>
      <p:sp>
        <p:nvSpPr>
          <p:cNvPr id="37" name="Textfeld 36">
            <a:extLst>
              <a:ext uri="{FF2B5EF4-FFF2-40B4-BE49-F238E27FC236}">
                <a16:creationId xmlns:a16="http://schemas.microsoft.com/office/drawing/2014/main" id="{0B7B5805-7772-4747-9D57-D7FDC037DDBD}"/>
              </a:ext>
            </a:extLst>
          </p:cNvPr>
          <p:cNvSpPr txBox="1"/>
          <p:nvPr/>
        </p:nvSpPr>
        <p:spPr>
          <a:xfrm>
            <a:off x="3225100" y="2230490"/>
            <a:ext cx="3491551" cy="1200329"/>
          </a:xfrm>
          <a:prstGeom prst="rect">
            <a:avLst/>
          </a:prstGeom>
          <a:noFill/>
        </p:spPr>
        <p:txBody>
          <a:bodyPr wrap="square" rtlCol="0">
            <a:spAutoFit/>
          </a:bodyPr>
          <a:lstStyle/>
          <a:p>
            <a:r>
              <a:rPr lang="de-DE" dirty="0"/>
              <a:t>Definierbarer Radius und</a:t>
            </a:r>
          </a:p>
          <a:p>
            <a:r>
              <a:rPr lang="de-DE" dirty="0"/>
              <a:t>Erkennung der Parameter wenn ein vorhandenes Segment ausgewählt ist</a:t>
            </a:r>
          </a:p>
        </p:txBody>
      </p:sp>
      <p:pic>
        <p:nvPicPr>
          <p:cNvPr id="32" name="Grafik 31">
            <a:extLst>
              <a:ext uri="{FF2B5EF4-FFF2-40B4-BE49-F238E27FC236}">
                <a16:creationId xmlns:a16="http://schemas.microsoft.com/office/drawing/2014/main" id="{B199252E-9461-40DB-A852-203D1E19061A}"/>
              </a:ext>
            </a:extLst>
          </p:cNvPr>
          <p:cNvPicPr>
            <a:picLocks noChangeAspect="1"/>
          </p:cNvPicPr>
          <p:nvPr/>
        </p:nvPicPr>
        <p:blipFill>
          <a:blip r:embed="rId7"/>
          <a:stretch>
            <a:fillRect/>
          </a:stretch>
        </p:blipFill>
        <p:spPr>
          <a:xfrm>
            <a:off x="7933038" y="1753304"/>
            <a:ext cx="2604005" cy="1119722"/>
          </a:xfrm>
          <a:prstGeom prst="rect">
            <a:avLst/>
          </a:prstGeom>
        </p:spPr>
      </p:pic>
      <p:sp>
        <p:nvSpPr>
          <p:cNvPr id="40" name="Textfeld 39">
            <a:extLst>
              <a:ext uri="{FF2B5EF4-FFF2-40B4-BE49-F238E27FC236}">
                <a16:creationId xmlns:a16="http://schemas.microsoft.com/office/drawing/2014/main" id="{F19FB254-4796-4A98-A146-5EEE3396A53A}"/>
              </a:ext>
            </a:extLst>
          </p:cNvPr>
          <p:cNvSpPr txBox="1"/>
          <p:nvPr/>
        </p:nvSpPr>
        <p:spPr>
          <a:xfrm>
            <a:off x="7242351" y="2853815"/>
            <a:ext cx="4430665" cy="923330"/>
          </a:xfrm>
          <a:prstGeom prst="rect">
            <a:avLst/>
          </a:prstGeom>
          <a:noFill/>
        </p:spPr>
        <p:txBody>
          <a:bodyPr wrap="square" rtlCol="0">
            <a:spAutoFit/>
          </a:bodyPr>
          <a:lstStyle/>
          <a:p>
            <a:r>
              <a:rPr lang="de-DE" dirty="0"/>
              <a:t>Dialog-Usability verbessert (kein ungewollter Wechsel der Zielgröße) und Zurücksetzen-Button</a:t>
            </a:r>
          </a:p>
        </p:txBody>
      </p:sp>
      <p:pic>
        <p:nvPicPr>
          <p:cNvPr id="41" name="Grafik 40">
            <a:extLst>
              <a:ext uri="{FF2B5EF4-FFF2-40B4-BE49-F238E27FC236}">
                <a16:creationId xmlns:a16="http://schemas.microsoft.com/office/drawing/2014/main" id="{2C44A9DC-F8A3-4121-9254-3564331C0E02}"/>
              </a:ext>
            </a:extLst>
          </p:cNvPr>
          <p:cNvPicPr>
            <a:picLocks noChangeAspect="1"/>
          </p:cNvPicPr>
          <p:nvPr/>
        </p:nvPicPr>
        <p:blipFill>
          <a:blip r:embed="rId8"/>
          <a:stretch>
            <a:fillRect/>
          </a:stretch>
        </p:blipFill>
        <p:spPr>
          <a:xfrm>
            <a:off x="838199" y="4176737"/>
            <a:ext cx="2136505" cy="2302194"/>
          </a:xfrm>
          <a:prstGeom prst="rect">
            <a:avLst/>
          </a:prstGeom>
        </p:spPr>
      </p:pic>
      <p:sp>
        <p:nvSpPr>
          <p:cNvPr id="42" name="Rechteck 41">
            <a:extLst>
              <a:ext uri="{FF2B5EF4-FFF2-40B4-BE49-F238E27FC236}">
                <a16:creationId xmlns:a16="http://schemas.microsoft.com/office/drawing/2014/main" id="{7078756D-4E59-4ED3-9390-EE2FDA350476}"/>
              </a:ext>
            </a:extLst>
          </p:cNvPr>
          <p:cNvSpPr/>
          <p:nvPr/>
        </p:nvSpPr>
        <p:spPr>
          <a:xfrm>
            <a:off x="838199" y="5890760"/>
            <a:ext cx="2136505"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Textfeld 42">
            <a:extLst>
              <a:ext uri="{FF2B5EF4-FFF2-40B4-BE49-F238E27FC236}">
                <a16:creationId xmlns:a16="http://schemas.microsoft.com/office/drawing/2014/main" id="{48DB04F7-106D-4F76-B530-8E8E50BB6613}"/>
              </a:ext>
            </a:extLst>
          </p:cNvPr>
          <p:cNvSpPr txBox="1"/>
          <p:nvPr/>
        </p:nvSpPr>
        <p:spPr>
          <a:xfrm>
            <a:off x="3061003" y="4434887"/>
            <a:ext cx="3950689" cy="1754326"/>
          </a:xfrm>
          <a:prstGeom prst="rect">
            <a:avLst/>
          </a:prstGeom>
          <a:noFill/>
        </p:spPr>
        <p:txBody>
          <a:bodyPr wrap="square" rtlCol="0">
            <a:spAutoFit/>
          </a:bodyPr>
          <a:lstStyle/>
          <a:p>
            <a:r>
              <a:rPr lang="de-DE" dirty="0"/>
              <a:t>Beim Einfügen und Verteilen von Text werden die gewählten Shapes nun von oben-links nach unten-rechts sortiert, was das Einfügen von Tabellen auf Shapes sehr einfach macht</a:t>
            </a:r>
          </a:p>
        </p:txBody>
      </p:sp>
      <p:sp>
        <p:nvSpPr>
          <p:cNvPr id="44" name="Rechteck 43">
            <a:extLst>
              <a:ext uri="{FF2B5EF4-FFF2-40B4-BE49-F238E27FC236}">
                <a16:creationId xmlns:a16="http://schemas.microsoft.com/office/drawing/2014/main" id="{9D7A67B9-D891-4EA1-8EE8-37CA49F90A95}"/>
              </a:ext>
            </a:extLst>
          </p:cNvPr>
          <p:cNvSpPr/>
          <p:nvPr/>
        </p:nvSpPr>
        <p:spPr>
          <a:xfrm>
            <a:off x="1578966" y="2598445"/>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42280444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vert="horz"/>
          <a:lstStyle/>
          <a:p>
            <a:r>
              <a:rPr lang="de-DE" dirty="0"/>
              <a:t>Bugfixes</a:t>
            </a:r>
          </a:p>
        </p:txBody>
      </p:sp>
      <p:pic>
        <p:nvPicPr>
          <p:cNvPr id="6" name="Grafik 5">
            <a:extLst>
              <a:ext uri="{FF2B5EF4-FFF2-40B4-BE49-F238E27FC236}">
                <a16:creationId xmlns:a16="http://schemas.microsoft.com/office/drawing/2014/main" id="{BAF39333-DE10-4232-AEDA-52EDC07BE0D6}"/>
              </a:ext>
            </a:extLst>
          </p:cNvPr>
          <p:cNvPicPr>
            <a:picLocks noChangeAspect="1"/>
          </p:cNvPicPr>
          <p:nvPr/>
        </p:nvPicPr>
        <p:blipFill>
          <a:blip r:embed="rId6"/>
          <a:stretch>
            <a:fillRect/>
          </a:stretch>
        </p:blipFill>
        <p:spPr>
          <a:xfrm>
            <a:off x="838200" y="1997260"/>
            <a:ext cx="3100643" cy="2138136"/>
          </a:xfrm>
          <a:prstGeom prst="rect">
            <a:avLst/>
          </a:prstGeom>
        </p:spPr>
      </p:pic>
      <p:sp>
        <p:nvSpPr>
          <p:cNvPr id="7" name="Textfeld 6">
            <a:extLst>
              <a:ext uri="{FF2B5EF4-FFF2-40B4-BE49-F238E27FC236}">
                <a16:creationId xmlns:a16="http://schemas.microsoft.com/office/drawing/2014/main" id="{C94E2625-A3E6-4FDE-8096-40D19B7B5DDC}"/>
              </a:ext>
            </a:extLst>
          </p:cNvPr>
          <p:cNvSpPr txBox="1"/>
          <p:nvPr/>
        </p:nvSpPr>
        <p:spPr>
          <a:xfrm>
            <a:off x="899217" y="4135396"/>
            <a:ext cx="3491551" cy="646331"/>
          </a:xfrm>
          <a:prstGeom prst="rect">
            <a:avLst/>
          </a:prstGeom>
          <a:noFill/>
        </p:spPr>
        <p:txBody>
          <a:bodyPr wrap="square" rtlCol="0">
            <a:spAutoFit/>
          </a:bodyPr>
          <a:lstStyle/>
          <a:p>
            <a:r>
              <a:rPr lang="de-DE" dirty="0"/>
              <a:t>Fehler bei „Neue Library erstellen“ behoben</a:t>
            </a:r>
          </a:p>
        </p:txBody>
      </p:sp>
      <p:pic>
        <p:nvPicPr>
          <p:cNvPr id="8" name="Grafik 7">
            <a:extLst>
              <a:ext uri="{FF2B5EF4-FFF2-40B4-BE49-F238E27FC236}">
                <a16:creationId xmlns:a16="http://schemas.microsoft.com/office/drawing/2014/main" id="{35D4D6EE-2BFB-464C-A67B-D17EEE18CDB1}"/>
              </a:ext>
            </a:extLst>
          </p:cNvPr>
          <p:cNvPicPr>
            <a:picLocks noChangeAspect="1"/>
          </p:cNvPicPr>
          <p:nvPr/>
        </p:nvPicPr>
        <p:blipFill>
          <a:blip r:embed="rId7"/>
          <a:stretch>
            <a:fillRect/>
          </a:stretch>
        </p:blipFill>
        <p:spPr>
          <a:xfrm>
            <a:off x="5207672" y="3266558"/>
            <a:ext cx="2425423" cy="1515169"/>
          </a:xfrm>
          <a:prstGeom prst="rect">
            <a:avLst/>
          </a:prstGeom>
        </p:spPr>
      </p:pic>
      <p:sp>
        <p:nvSpPr>
          <p:cNvPr id="9" name="Textfeld 8">
            <a:extLst>
              <a:ext uri="{FF2B5EF4-FFF2-40B4-BE49-F238E27FC236}">
                <a16:creationId xmlns:a16="http://schemas.microsoft.com/office/drawing/2014/main" id="{295217A7-C48B-4DD4-A0F5-B0D60586F938}"/>
              </a:ext>
            </a:extLst>
          </p:cNvPr>
          <p:cNvSpPr txBox="1"/>
          <p:nvPr/>
        </p:nvSpPr>
        <p:spPr>
          <a:xfrm>
            <a:off x="5105370" y="4789966"/>
            <a:ext cx="2807811" cy="646331"/>
          </a:xfrm>
          <a:prstGeom prst="rect">
            <a:avLst/>
          </a:prstGeom>
          <a:noFill/>
        </p:spPr>
        <p:txBody>
          <a:bodyPr wrap="square" rtlCol="0">
            <a:spAutoFit/>
          </a:bodyPr>
          <a:lstStyle/>
          <a:p>
            <a:r>
              <a:rPr lang="de-DE" dirty="0"/>
              <a:t>Shape-Tabellen gehen wieder</a:t>
            </a:r>
          </a:p>
        </p:txBody>
      </p:sp>
      <p:pic>
        <p:nvPicPr>
          <p:cNvPr id="11" name="Grafik 10">
            <a:extLst>
              <a:ext uri="{FF2B5EF4-FFF2-40B4-BE49-F238E27FC236}">
                <a16:creationId xmlns:a16="http://schemas.microsoft.com/office/drawing/2014/main" id="{F83DA874-B3C4-4563-9205-51AD54CEBF52}"/>
              </a:ext>
            </a:extLst>
          </p:cNvPr>
          <p:cNvPicPr>
            <a:picLocks noChangeAspect="1"/>
          </p:cNvPicPr>
          <p:nvPr/>
        </p:nvPicPr>
        <p:blipFill>
          <a:blip r:embed="rId8"/>
          <a:stretch>
            <a:fillRect/>
          </a:stretch>
        </p:blipFill>
        <p:spPr>
          <a:xfrm>
            <a:off x="8832388" y="3637808"/>
            <a:ext cx="1790950" cy="1733792"/>
          </a:xfrm>
          <a:prstGeom prst="rect">
            <a:avLst/>
          </a:prstGeom>
        </p:spPr>
      </p:pic>
      <p:sp>
        <p:nvSpPr>
          <p:cNvPr id="12" name="Textfeld 11">
            <a:extLst>
              <a:ext uri="{FF2B5EF4-FFF2-40B4-BE49-F238E27FC236}">
                <a16:creationId xmlns:a16="http://schemas.microsoft.com/office/drawing/2014/main" id="{E6FD9787-6084-40AC-8A8D-1F674C823632}"/>
              </a:ext>
            </a:extLst>
          </p:cNvPr>
          <p:cNvSpPr txBox="1"/>
          <p:nvPr/>
        </p:nvSpPr>
        <p:spPr>
          <a:xfrm>
            <a:off x="8720398" y="5414849"/>
            <a:ext cx="2338254" cy="646331"/>
          </a:xfrm>
          <a:prstGeom prst="rect">
            <a:avLst/>
          </a:prstGeom>
          <a:noFill/>
        </p:spPr>
        <p:txBody>
          <a:bodyPr wrap="square" rtlCol="0">
            <a:spAutoFit/>
          </a:bodyPr>
          <a:lstStyle/>
          <a:p>
            <a:r>
              <a:rPr lang="de-DE" dirty="0"/>
              <a:t>Font </a:t>
            </a:r>
            <a:r>
              <a:rPr lang="de-DE" dirty="0" err="1"/>
              <a:t>Awesome</a:t>
            </a:r>
            <a:r>
              <a:rPr lang="de-DE" dirty="0"/>
              <a:t> 5 geht wieder</a:t>
            </a:r>
          </a:p>
        </p:txBody>
      </p:sp>
    </p:spTree>
    <p:extLst>
      <p:ext uri="{BB962C8B-B14F-4D97-AF65-F5344CB8AC3E}">
        <p14:creationId xmlns:p14="http://schemas.microsoft.com/office/powerpoint/2010/main" val="32207825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349357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2</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9018392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08167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26" imgH="526" progId="TCLayout.ActiveDocument.1">
                  <p:embed/>
                </p:oleObj>
              </mc:Choice>
              <mc:Fallback>
                <p:oleObj name="think-cell Folie" r:id="rId10" imgW="526" imgH="52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39" name="Rechteck 38"/>
          <p:cNvSpPr/>
          <p:nvPr/>
        </p:nvSpPr>
        <p:spPr bwMode="white">
          <a:xfrm>
            <a:off x="7569885" y="3105419"/>
            <a:ext cx="199984" cy="172621"/>
          </a:xfrm>
          <a:prstGeom prst="rect">
            <a:avLst/>
          </a:prstGeom>
          <a:solidFill>
            <a:srgbClr val="E3F2E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p:ph type="title"/>
          </p:nvPr>
        </p:nvSpPr>
        <p:spPr/>
        <p:txBody>
          <a:bodyPr/>
          <a:lstStyle/>
          <a:p>
            <a:r>
              <a:rPr lang="de-DE" dirty="0"/>
              <a:t>Verbesserung “Verknüpfte Shapes”</a:t>
            </a:r>
          </a:p>
        </p:txBody>
      </p:sp>
      <p:sp>
        <p:nvSpPr>
          <p:cNvPr id="6" name="Rechteck 5"/>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pic>
        <p:nvPicPr>
          <p:cNvPr id="26" name="Grafik 25">
            <a:extLst>
              <a:ext uri="{FF2B5EF4-FFF2-40B4-BE49-F238E27FC236}">
                <a16:creationId xmlns:a16="http://schemas.microsoft.com/office/drawing/2014/main" id="{97A3A36C-7D16-4CC9-B0D1-E57F98AD67BB}"/>
              </a:ext>
            </a:extLst>
          </p:cNvPr>
          <p:cNvPicPr>
            <a:picLocks noChangeAspect="1"/>
          </p:cNvPicPr>
          <p:nvPr/>
        </p:nvPicPr>
        <p:blipFill>
          <a:blip r:embed="rId12"/>
          <a:stretch>
            <a:fillRect/>
          </a:stretch>
        </p:blipFill>
        <p:spPr>
          <a:xfrm>
            <a:off x="838200" y="1900329"/>
            <a:ext cx="3569806" cy="1820781"/>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780287" y="4079575"/>
            <a:ext cx="5114675" cy="2062103"/>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de-DE" dirty="0"/>
              <a:t>Auswahl der Referenz (gilt für die aktuelle Session bis zum PPT-Neustart)</a:t>
            </a:r>
          </a:p>
          <a:p>
            <a:pPr marL="285750" indent="-285750">
              <a:spcAft>
                <a:spcPts val="1200"/>
              </a:spcAft>
              <a:buFont typeface="Arial" panose="020B0604020202020204" pitchFamily="34" charset="0"/>
              <a:buChar char="•"/>
            </a:pPr>
            <a:r>
              <a:rPr lang="de-DE" dirty="0"/>
              <a:t>Status-</a:t>
            </a:r>
            <a:r>
              <a:rPr lang="de-DE" dirty="0" err="1"/>
              <a:t>Overlays</a:t>
            </a:r>
            <a:r>
              <a:rPr lang="de-DE" dirty="0"/>
              <a:t> (zur Überprüfung ob Aktualisierung erfolgreich war)</a:t>
            </a:r>
          </a:p>
          <a:p>
            <a:pPr marL="285750" indent="-285750">
              <a:spcAft>
                <a:spcPts val="1200"/>
              </a:spcAft>
              <a:buFont typeface="Arial" panose="020B0604020202020204" pitchFamily="34" charset="0"/>
              <a:buChar char="•"/>
            </a:pPr>
            <a:r>
              <a:rPr lang="de-DE" dirty="0"/>
              <a:t>Mehrere verknüpfte Shapes gleichzeitig auswählen und aktualisieren</a:t>
            </a:r>
          </a:p>
        </p:txBody>
      </p:sp>
      <p:sp>
        <p:nvSpPr>
          <p:cNvPr id="10" name="Rechteck 9"/>
          <p:cNvSpPr>
            <a:spLocks noChangeAspect="1"/>
          </p:cNvSpPr>
          <p:nvPr/>
        </p:nvSpPr>
        <p:spPr>
          <a:xfrm>
            <a:off x="7852865" y="3647083"/>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a:spLocks noChangeAspect="1"/>
          </p:cNvSpPr>
          <p:nvPr/>
        </p:nvSpPr>
        <p:spPr>
          <a:xfrm>
            <a:off x="7852865" y="4422447"/>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a:spLocks noChangeAspect="1"/>
          </p:cNvSpPr>
          <p:nvPr/>
        </p:nvSpPr>
        <p:spPr>
          <a:xfrm>
            <a:off x="7852865" y="5197811"/>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a:spLocks noChangeAspect="1"/>
          </p:cNvSpPr>
          <p:nvPr/>
        </p:nvSpPr>
        <p:spPr>
          <a:xfrm>
            <a:off x="7529207" y="2664590"/>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BKT] Traffic Light 14"/>
          <p:cNvSpPr>
            <a:spLocks noChangeAspect="1"/>
          </p:cNvSpPr>
          <p:nvPr>
            <p:custDataLst>
              <p:tags r:id="rId3"/>
            </p:custDataLst>
          </p:nvPr>
        </p:nvSpPr>
        <p:spPr>
          <a:xfrm>
            <a:off x="8221615" y="3798942"/>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BKT] Traffic Light 14"/>
          <p:cNvSpPr>
            <a:spLocks noChangeAspect="1"/>
          </p:cNvSpPr>
          <p:nvPr>
            <p:custDataLst>
              <p:tags r:id="rId4"/>
            </p:custDataLst>
          </p:nvPr>
        </p:nvSpPr>
        <p:spPr>
          <a:xfrm>
            <a:off x="8221615" y="4585554"/>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BKT] Traffic Light 14"/>
          <p:cNvSpPr>
            <a:spLocks noChangeAspect="1"/>
          </p:cNvSpPr>
          <p:nvPr>
            <p:custDataLst>
              <p:tags r:id="rId5"/>
            </p:custDataLst>
          </p:nvPr>
        </p:nvSpPr>
        <p:spPr>
          <a:xfrm>
            <a:off x="8221615" y="5349670"/>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Textfeld 16"/>
          <p:cNvSpPr txBox="1"/>
          <p:nvPr/>
        </p:nvSpPr>
        <p:spPr>
          <a:xfrm>
            <a:off x="7879855" y="3721110"/>
            <a:ext cx="341760" cy="369332"/>
          </a:xfrm>
          <a:prstGeom prst="rect">
            <a:avLst/>
          </a:prstGeom>
          <a:noFill/>
        </p:spPr>
        <p:txBody>
          <a:bodyPr wrap="none" rtlCol="0">
            <a:spAutoFit/>
          </a:bodyPr>
          <a:lstStyle/>
          <a:p>
            <a:r>
              <a:rPr lang="de-DE" dirty="0"/>
              <a:t>A</a:t>
            </a:r>
          </a:p>
        </p:txBody>
      </p:sp>
      <p:sp>
        <p:nvSpPr>
          <p:cNvPr id="18" name="Textfeld 17"/>
          <p:cNvSpPr txBox="1"/>
          <p:nvPr/>
        </p:nvSpPr>
        <p:spPr>
          <a:xfrm>
            <a:off x="7879855" y="4527888"/>
            <a:ext cx="341760" cy="369332"/>
          </a:xfrm>
          <a:prstGeom prst="rect">
            <a:avLst/>
          </a:prstGeom>
          <a:noFill/>
        </p:spPr>
        <p:txBody>
          <a:bodyPr wrap="none" rtlCol="0">
            <a:spAutoFit/>
          </a:bodyPr>
          <a:lstStyle/>
          <a:p>
            <a:r>
              <a:rPr lang="de-DE" dirty="0"/>
              <a:t>B</a:t>
            </a:r>
          </a:p>
        </p:txBody>
      </p:sp>
      <p:sp>
        <p:nvSpPr>
          <p:cNvPr id="19" name="Textfeld 18"/>
          <p:cNvSpPr txBox="1"/>
          <p:nvPr/>
        </p:nvSpPr>
        <p:spPr>
          <a:xfrm>
            <a:off x="7879855" y="5253489"/>
            <a:ext cx="346570" cy="369332"/>
          </a:xfrm>
          <a:prstGeom prst="rect">
            <a:avLst/>
          </a:prstGeom>
          <a:noFill/>
        </p:spPr>
        <p:txBody>
          <a:bodyPr wrap="none" rtlCol="0">
            <a:spAutoFit/>
          </a:bodyPr>
          <a:lstStyle/>
          <a:p>
            <a:r>
              <a:rPr lang="de-DE" dirty="0"/>
              <a:t>C</a:t>
            </a:r>
          </a:p>
        </p:txBody>
      </p:sp>
      <p:sp>
        <p:nvSpPr>
          <p:cNvPr id="20" name="[BKT] Traffic Light 14"/>
          <p:cNvSpPr>
            <a:spLocks noChangeAspect="1"/>
          </p:cNvSpPr>
          <p:nvPr>
            <p:custDataLst>
              <p:tags r:id="rId6"/>
            </p:custDataLst>
          </p:nvPr>
        </p:nvSpPr>
        <p:spPr>
          <a:xfrm>
            <a:off x="7569885" y="3003385"/>
            <a:ext cx="180000" cy="180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1" name="[BKT] Traffic Light 14"/>
          <p:cNvSpPr>
            <a:spLocks noChangeAspect="1"/>
          </p:cNvSpPr>
          <p:nvPr>
            <p:custDataLst>
              <p:tags r:id="rId7"/>
            </p:custDataLst>
          </p:nvPr>
        </p:nvSpPr>
        <p:spPr>
          <a:xfrm>
            <a:off x="7932349"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2" name="[BKT] Traffic Light 14"/>
          <p:cNvSpPr>
            <a:spLocks noChangeAspect="1"/>
          </p:cNvSpPr>
          <p:nvPr>
            <p:custDataLst>
              <p:tags r:id="rId8"/>
            </p:custDataLst>
          </p:nvPr>
        </p:nvSpPr>
        <p:spPr>
          <a:xfrm>
            <a:off x="8295615"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3" name="Textfeld 22"/>
          <p:cNvSpPr txBox="1"/>
          <p:nvPr/>
        </p:nvSpPr>
        <p:spPr>
          <a:xfrm>
            <a:off x="7514653" y="2726386"/>
            <a:ext cx="290464" cy="276999"/>
          </a:xfrm>
          <a:prstGeom prst="rect">
            <a:avLst/>
          </a:prstGeom>
          <a:noFill/>
        </p:spPr>
        <p:txBody>
          <a:bodyPr wrap="none" rtlCol="0">
            <a:spAutoFit/>
          </a:bodyPr>
          <a:lstStyle/>
          <a:p>
            <a:r>
              <a:rPr lang="de-DE" sz="1200" dirty="0"/>
              <a:t>A</a:t>
            </a:r>
          </a:p>
        </p:txBody>
      </p:sp>
      <p:sp>
        <p:nvSpPr>
          <p:cNvPr id="24" name="Textfeld 23"/>
          <p:cNvSpPr txBox="1"/>
          <p:nvPr/>
        </p:nvSpPr>
        <p:spPr>
          <a:xfrm>
            <a:off x="7877117" y="2726386"/>
            <a:ext cx="290464" cy="276999"/>
          </a:xfrm>
          <a:prstGeom prst="rect">
            <a:avLst/>
          </a:prstGeom>
          <a:noFill/>
        </p:spPr>
        <p:txBody>
          <a:bodyPr wrap="none" rtlCol="0">
            <a:spAutoFit/>
          </a:bodyPr>
          <a:lstStyle/>
          <a:p>
            <a:r>
              <a:rPr lang="de-DE" sz="1200" dirty="0"/>
              <a:t>B</a:t>
            </a:r>
          </a:p>
        </p:txBody>
      </p:sp>
      <p:sp>
        <p:nvSpPr>
          <p:cNvPr id="25" name="Textfeld 24"/>
          <p:cNvSpPr txBox="1"/>
          <p:nvPr/>
        </p:nvSpPr>
        <p:spPr>
          <a:xfrm>
            <a:off x="8239581" y="2726386"/>
            <a:ext cx="292068" cy="276999"/>
          </a:xfrm>
          <a:prstGeom prst="rect">
            <a:avLst/>
          </a:prstGeom>
          <a:noFill/>
        </p:spPr>
        <p:txBody>
          <a:bodyPr wrap="none" rtlCol="0">
            <a:spAutoFit/>
          </a:bodyPr>
          <a:lstStyle/>
          <a:p>
            <a:r>
              <a:rPr lang="de-DE" sz="1200" dirty="0"/>
              <a:t>C</a:t>
            </a:r>
          </a:p>
        </p:txBody>
      </p:sp>
      <p:cxnSp>
        <p:nvCxnSpPr>
          <p:cNvPr id="27" name="Gewinkelter Verbinder 26"/>
          <p:cNvCxnSpPr>
            <a:stCxn id="10" idx="1"/>
            <a:endCxn id="39" idx="2"/>
          </p:cNvCxnSpPr>
          <p:nvPr/>
        </p:nvCxnSpPr>
        <p:spPr>
          <a:xfrm rot="10800000">
            <a:off x="7669877" y="3278041"/>
            <a:ext cx="182988" cy="647903"/>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1" idx="1"/>
            <a:endCxn id="39" idx="2"/>
          </p:cNvCxnSpPr>
          <p:nvPr/>
        </p:nvCxnSpPr>
        <p:spPr>
          <a:xfrm rot="10800000">
            <a:off x="7669877" y="3278041"/>
            <a:ext cx="182988" cy="1423267"/>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12" idx="1"/>
            <a:endCxn id="39" idx="2"/>
          </p:cNvCxnSpPr>
          <p:nvPr/>
        </p:nvCxnSpPr>
        <p:spPr>
          <a:xfrm rot="10800000">
            <a:off x="7669877" y="3278041"/>
            <a:ext cx="182988" cy="219863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5B1A18FF-FDBD-40AB-9754-9BBA6A568746}"/>
              </a:ext>
            </a:extLst>
          </p:cNvPr>
          <p:cNvSpPr txBox="1"/>
          <p:nvPr/>
        </p:nvSpPr>
        <p:spPr>
          <a:xfrm>
            <a:off x="8962224" y="2667833"/>
            <a:ext cx="2432884" cy="283154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de-DE" sz="1200" dirty="0"/>
              <a:t>Es gibt mehrere Status-Folien mit Ampeln sowie eine Management Summary</a:t>
            </a:r>
          </a:p>
          <a:p>
            <a:pPr marL="285750" indent="-285750">
              <a:spcAft>
                <a:spcPts val="600"/>
              </a:spcAft>
              <a:buFont typeface="Arial" panose="020B0604020202020204" pitchFamily="34" charset="0"/>
              <a:buChar char="•"/>
            </a:pPr>
            <a:r>
              <a:rPr lang="de-DE" sz="1200" dirty="0"/>
              <a:t>Wenn die Summary-Ampeln mit den einzelnen Folien verknüpft werden, könne alle auf einen Schlag aktualisiert werden</a:t>
            </a:r>
          </a:p>
          <a:p>
            <a:pPr marL="285750" indent="-285750">
              <a:spcAft>
                <a:spcPts val="600"/>
              </a:spcAft>
              <a:buFont typeface="Arial" panose="020B0604020202020204" pitchFamily="34" charset="0"/>
              <a:buChar char="•"/>
            </a:pPr>
            <a:r>
              <a:rPr lang="de-DE" sz="1200" dirty="0"/>
              <a:t>Dazu muss die Referenz auf „Letztes Shape im Foliensatz“ gesetzt werden</a:t>
            </a:r>
          </a:p>
        </p:txBody>
      </p:sp>
      <p:sp>
        <p:nvSpPr>
          <p:cNvPr id="49" name="Textfeld 48"/>
          <p:cNvSpPr txBox="1"/>
          <p:nvPr/>
        </p:nvSpPr>
        <p:spPr>
          <a:xfrm>
            <a:off x="7529207" y="2506251"/>
            <a:ext cx="343043" cy="123111"/>
          </a:xfrm>
          <a:prstGeom prst="rect">
            <a:avLst/>
          </a:prstGeom>
          <a:noFill/>
        </p:spPr>
        <p:txBody>
          <a:bodyPr wrap="none" lIns="0" tIns="0" rIns="0" bIns="0" rtlCol="0">
            <a:spAutoFit/>
          </a:bodyPr>
          <a:lstStyle/>
          <a:p>
            <a:r>
              <a:rPr lang="de-DE" sz="800" dirty="0"/>
              <a:t>Folie 1</a:t>
            </a:r>
          </a:p>
        </p:txBody>
      </p:sp>
      <p:sp>
        <p:nvSpPr>
          <p:cNvPr id="50" name="Textfeld 49"/>
          <p:cNvSpPr txBox="1"/>
          <p:nvPr/>
        </p:nvSpPr>
        <p:spPr>
          <a:xfrm>
            <a:off x="7852865" y="3489980"/>
            <a:ext cx="343043" cy="123111"/>
          </a:xfrm>
          <a:prstGeom prst="rect">
            <a:avLst/>
          </a:prstGeom>
          <a:noFill/>
        </p:spPr>
        <p:txBody>
          <a:bodyPr wrap="none" lIns="0" tIns="0" rIns="0" bIns="0" rtlCol="0">
            <a:spAutoFit/>
          </a:bodyPr>
          <a:lstStyle/>
          <a:p>
            <a:r>
              <a:rPr lang="de-DE" sz="800" dirty="0"/>
              <a:t>Folie 2</a:t>
            </a:r>
          </a:p>
        </p:txBody>
      </p:sp>
      <p:sp>
        <p:nvSpPr>
          <p:cNvPr id="51" name="Textfeld 50"/>
          <p:cNvSpPr txBox="1"/>
          <p:nvPr/>
        </p:nvSpPr>
        <p:spPr>
          <a:xfrm>
            <a:off x="7852865" y="4268387"/>
            <a:ext cx="343043" cy="123111"/>
          </a:xfrm>
          <a:prstGeom prst="rect">
            <a:avLst/>
          </a:prstGeom>
          <a:noFill/>
        </p:spPr>
        <p:txBody>
          <a:bodyPr wrap="none" lIns="0" tIns="0" rIns="0" bIns="0" rtlCol="0">
            <a:spAutoFit/>
          </a:bodyPr>
          <a:lstStyle/>
          <a:p>
            <a:r>
              <a:rPr lang="de-DE" sz="800" dirty="0"/>
              <a:t>Folie 3</a:t>
            </a:r>
          </a:p>
        </p:txBody>
      </p:sp>
      <p:sp>
        <p:nvSpPr>
          <p:cNvPr id="52" name="Textfeld 51"/>
          <p:cNvSpPr txBox="1"/>
          <p:nvPr/>
        </p:nvSpPr>
        <p:spPr>
          <a:xfrm>
            <a:off x="7852865" y="5039819"/>
            <a:ext cx="343043" cy="123111"/>
          </a:xfrm>
          <a:prstGeom prst="rect">
            <a:avLst/>
          </a:prstGeom>
          <a:noFill/>
        </p:spPr>
        <p:txBody>
          <a:bodyPr wrap="none" lIns="0" tIns="0" rIns="0" bIns="0" rtlCol="0">
            <a:spAutoFit/>
          </a:bodyPr>
          <a:lstStyle/>
          <a:p>
            <a:r>
              <a:rPr lang="de-DE" sz="800" dirty="0"/>
              <a:t>Folie 4</a:t>
            </a:r>
          </a:p>
        </p:txBody>
      </p:sp>
    </p:spTree>
    <p:extLst>
      <p:ext uri="{BB962C8B-B14F-4D97-AF65-F5344CB8AC3E}">
        <p14:creationId xmlns:p14="http://schemas.microsoft.com/office/powerpoint/2010/main" val="17174963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83409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Funktion “Folien angleichen”</a:t>
            </a:r>
          </a:p>
        </p:txBody>
      </p:sp>
      <p:pic>
        <p:nvPicPr>
          <p:cNvPr id="3" name="Grafik 2"/>
          <p:cNvPicPr>
            <a:picLocks noChangeAspect="1"/>
          </p:cNvPicPr>
          <p:nvPr/>
        </p:nvPicPr>
        <p:blipFill>
          <a:blip r:embed="rId6"/>
          <a:stretch>
            <a:fillRect/>
          </a:stretch>
        </p:blipFill>
        <p:spPr>
          <a:xfrm>
            <a:off x="2621409" y="2790672"/>
            <a:ext cx="3710451" cy="3185593"/>
          </a:xfrm>
          <a:prstGeom prst="rect">
            <a:avLst/>
          </a:prstGeom>
        </p:spPr>
      </p:pic>
      <p:pic>
        <p:nvPicPr>
          <p:cNvPr id="34" name="Grafik 33">
            <a:extLst>
              <a:ext uri="{FF2B5EF4-FFF2-40B4-BE49-F238E27FC236}">
                <a16:creationId xmlns:a16="http://schemas.microsoft.com/office/drawing/2014/main" id="{E2062843-0844-4038-B048-59749539CF56}"/>
              </a:ext>
            </a:extLst>
          </p:cNvPr>
          <p:cNvPicPr>
            <a:picLocks noChangeAspect="1"/>
          </p:cNvPicPr>
          <p:nvPr/>
        </p:nvPicPr>
        <p:blipFill>
          <a:blip r:embed="rId7"/>
          <a:stretch>
            <a:fillRect/>
          </a:stretch>
        </p:blipFill>
        <p:spPr>
          <a:xfrm>
            <a:off x="411274" y="1490217"/>
            <a:ext cx="1918999" cy="3877565"/>
          </a:xfrm>
          <a:prstGeom prst="rect">
            <a:avLst/>
          </a:prstGeom>
        </p:spPr>
      </p:pic>
      <p:sp>
        <p:nvSpPr>
          <p:cNvPr id="5" name="Rechteck 4"/>
          <p:cNvSpPr/>
          <p:nvPr/>
        </p:nvSpPr>
        <p:spPr>
          <a:xfrm>
            <a:off x="7443281" y="1702580"/>
            <a:ext cx="3910519" cy="4273685"/>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sp>
        <p:nvSpPr>
          <p:cNvPr id="8" name="Rechteck 7">
            <a:extLst>
              <a:ext uri="{FF2B5EF4-FFF2-40B4-BE49-F238E27FC236}">
                <a16:creationId xmlns:a16="http://schemas.microsoft.com/office/drawing/2014/main" id="{C572475E-C162-4F56-8FC8-B6695F3653D8}"/>
              </a:ext>
            </a:extLst>
          </p:cNvPr>
          <p:cNvSpPr/>
          <p:nvPr/>
        </p:nvSpPr>
        <p:spPr>
          <a:xfrm>
            <a:off x="411274" y="4993828"/>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p:cNvSpPr>
            <a:spLocks noChangeAspect="1"/>
          </p:cNvSpPr>
          <p:nvPr/>
        </p:nvSpPr>
        <p:spPr>
          <a:xfrm>
            <a:off x="7761051"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a:spLocks noChangeAspect="1"/>
          </p:cNvSpPr>
          <p:nvPr/>
        </p:nvSpPr>
        <p:spPr>
          <a:xfrm>
            <a:off x="7761051"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extfeld 10"/>
          <p:cNvSpPr txBox="1"/>
          <p:nvPr/>
        </p:nvSpPr>
        <p:spPr>
          <a:xfrm>
            <a:off x="7761051" y="2178993"/>
            <a:ext cx="641201" cy="123111"/>
          </a:xfrm>
          <a:prstGeom prst="rect">
            <a:avLst/>
          </a:prstGeom>
          <a:noFill/>
        </p:spPr>
        <p:txBody>
          <a:bodyPr wrap="none" lIns="0" tIns="0" rIns="0" bIns="0" rtlCol="0">
            <a:spAutoFit/>
          </a:bodyPr>
          <a:lstStyle/>
          <a:p>
            <a:r>
              <a:rPr lang="de-DE" sz="800" dirty="0"/>
              <a:t>Template v1</a:t>
            </a:r>
          </a:p>
        </p:txBody>
      </p:sp>
      <p:sp>
        <p:nvSpPr>
          <p:cNvPr id="12" name="Textfeld 11"/>
          <p:cNvSpPr txBox="1"/>
          <p:nvPr/>
        </p:nvSpPr>
        <p:spPr>
          <a:xfrm>
            <a:off x="7761051" y="3162722"/>
            <a:ext cx="601127" cy="123111"/>
          </a:xfrm>
          <a:prstGeom prst="rect">
            <a:avLst/>
          </a:prstGeom>
          <a:noFill/>
        </p:spPr>
        <p:txBody>
          <a:bodyPr wrap="none" lIns="0" tIns="0" rIns="0" bIns="0" rtlCol="0">
            <a:spAutoFit/>
          </a:bodyPr>
          <a:lstStyle/>
          <a:p>
            <a:r>
              <a:rPr lang="de-DE" sz="800" dirty="0" err="1"/>
              <a:t>OnePager</a:t>
            </a:r>
            <a:r>
              <a:rPr lang="de-DE" sz="800" dirty="0"/>
              <a:t> 1</a:t>
            </a:r>
          </a:p>
        </p:txBody>
      </p:sp>
      <p:sp>
        <p:nvSpPr>
          <p:cNvPr id="13" name="Rechteck 12"/>
          <p:cNvSpPr>
            <a:spLocks noChangeAspect="1"/>
          </p:cNvSpPr>
          <p:nvPr/>
        </p:nvSpPr>
        <p:spPr>
          <a:xfrm>
            <a:off x="7761051"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Textfeld 13"/>
          <p:cNvSpPr txBox="1"/>
          <p:nvPr/>
        </p:nvSpPr>
        <p:spPr>
          <a:xfrm>
            <a:off x="7761051" y="3997343"/>
            <a:ext cx="601127" cy="123111"/>
          </a:xfrm>
          <a:prstGeom prst="rect">
            <a:avLst/>
          </a:prstGeom>
          <a:noFill/>
        </p:spPr>
        <p:txBody>
          <a:bodyPr wrap="none" lIns="0" tIns="0" rIns="0" bIns="0" rtlCol="0">
            <a:spAutoFit/>
          </a:bodyPr>
          <a:lstStyle/>
          <a:p>
            <a:r>
              <a:rPr lang="de-DE" sz="800" dirty="0" err="1"/>
              <a:t>OnePager</a:t>
            </a:r>
            <a:r>
              <a:rPr lang="de-DE" sz="800" dirty="0"/>
              <a:t> 2</a:t>
            </a:r>
          </a:p>
        </p:txBody>
      </p:sp>
      <p:sp>
        <p:nvSpPr>
          <p:cNvPr id="15" name="Rechteck 14"/>
          <p:cNvSpPr/>
          <p:nvPr/>
        </p:nvSpPr>
        <p:spPr>
          <a:xfrm>
            <a:off x="7845359" y="242190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16" name="Rechteck 15"/>
          <p:cNvSpPr/>
          <p:nvPr/>
        </p:nvSpPr>
        <p:spPr>
          <a:xfrm>
            <a:off x="7845359" y="265681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17" name="Rechteck 16"/>
          <p:cNvSpPr>
            <a:spLocks/>
          </p:cNvSpPr>
          <p:nvPr/>
        </p:nvSpPr>
        <p:spPr>
          <a:xfrm>
            <a:off x="8179342" y="242190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8" name="Rechteck 17"/>
          <p:cNvSpPr>
            <a:spLocks/>
          </p:cNvSpPr>
          <p:nvPr/>
        </p:nvSpPr>
        <p:spPr>
          <a:xfrm>
            <a:off x="8179342" y="265681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9" name="Rechteck 18"/>
          <p:cNvSpPr/>
          <p:nvPr/>
        </p:nvSpPr>
        <p:spPr>
          <a:xfrm>
            <a:off x="7845359" y="3405632"/>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20" name="Rechteck 19"/>
          <p:cNvSpPr/>
          <p:nvPr/>
        </p:nvSpPr>
        <p:spPr>
          <a:xfrm>
            <a:off x="7845359" y="3640539"/>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21" name="Rechteck 20"/>
          <p:cNvSpPr>
            <a:spLocks/>
          </p:cNvSpPr>
          <p:nvPr/>
        </p:nvSpPr>
        <p:spPr>
          <a:xfrm>
            <a:off x="8179342" y="340563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abc</a:t>
            </a:r>
            <a:endParaRPr lang="de-DE" sz="800" dirty="0">
              <a:solidFill>
                <a:sysClr val="windowText" lastClr="000000"/>
              </a:solidFill>
            </a:endParaRPr>
          </a:p>
        </p:txBody>
      </p:sp>
      <p:sp>
        <p:nvSpPr>
          <p:cNvPr id="22" name="Rechteck 21"/>
          <p:cNvSpPr>
            <a:spLocks/>
          </p:cNvSpPr>
          <p:nvPr/>
        </p:nvSpPr>
        <p:spPr>
          <a:xfrm>
            <a:off x="8179342" y="364053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def</a:t>
            </a:r>
            <a:endParaRPr lang="de-DE" sz="800" dirty="0">
              <a:solidFill>
                <a:sysClr val="windowText" lastClr="000000"/>
              </a:solidFill>
            </a:endParaRPr>
          </a:p>
        </p:txBody>
      </p:sp>
      <p:sp>
        <p:nvSpPr>
          <p:cNvPr id="23" name="Rechteck 22"/>
          <p:cNvSpPr/>
          <p:nvPr/>
        </p:nvSpPr>
        <p:spPr>
          <a:xfrm>
            <a:off x="7845359" y="424025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24" name="Rechteck 23"/>
          <p:cNvSpPr/>
          <p:nvPr/>
        </p:nvSpPr>
        <p:spPr>
          <a:xfrm>
            <a:off x="7845359" y="447516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25" name="Rechteck 24"/>
          <p:cNvSpPr>
            <a:spLocks/>
          </p:cNvSpPr>
          <p:nvPr/>
        </p:nvSpPr>
        <p:spPr>
          <a:xfrm>
            <a:off x="8179342" y="424025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xyz</a:t>
            </a:r>
            <a:endParaRPr lang="de-DE" sz="800" dirty="0">
              <a:solidFill>
                <a:sysClr val="windowText" lastClr="000000"/>
              </a:solidFill>
            </a:endParaRPr>
          </a:p>
        </p:txBody>
      </p:sp>
      <p:sp>
        <p:nvSpPr>
          <p:cNvPr id="26" name="Rechteck 25"/>
          <p:cNvSpPr>
            <a:spLocks/>
          </p:cNvSpPr>
          <p:nvPr/>
        </p:nvSpPr>
        <p:spPr>
          <a:xfrm>
            <a:off x="8179342" y="447516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solidFill>
                  <a:sysClr val="windowText" lastClr="000000"/>
                </a:solidFill>
              </a:rPr>
              <a:t>123</a:t>
            </a:r>
          </a:p>
        </p:txBody>
      </p:sp>
      <p:sp>
        <p:nvSpPr>
          <p:cNvPr id="27" name="Rechteck 26"/>
          <p:cNvSpPr>
            <a:spLocks noChangeAspect="1"/>
          </p:cNvSpPr>
          <p:nvPr/>
        </p:nvSpPr>
        <p:spPr>
          <a:xfrm>
            <a:off x="9051297"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Textfeld 27"/>
          <p:cNvSpPr txBox="1"/>
          <p:nvPr/>
        </p:nvSpPr>
        <p:spPr>
          <a:xfrm>
            <a:off x="9051297" y="2178993"/>
            <a:ext cx="641201" cy="123111"/>
          </a:xfrm>
          <a:prstGeom prst="rect">
            <a:avLst/>
          </a:prstGeom>
          <a:noFill/>
        </p:spPr>
        <p:txBody>
          <a:bodyPr wrap="none" lIns="0" tIns="0" rIns="0" bIns="0" rtlCol="0">
            <a:spAutoFit/>
          </a:bodyPr>
          <a:lstStyle/>
          <a:p>
            <a:r>
              <a:rPr lang="de-DE" sz="800" dirty="0"/>
              <a:t>Template v2</a:t>
            </a:r>
          </a:p>
        </p:txBody>
      </p:sp>
      <p:sp>
        <p:nvSpPr>
          <p:cNvPr id="29" name="Rechteck 28"/>
          <p:cNvSpPr/>
          <p:nvPr/>
        </p:nvSpPr>
        <p:spPr>
          <a:xfrm>
            <a:off x="9135605" y="2389478"/>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30" name="Rechteck 29"/>
          <p:cNvSpPr/>
          <p:nvPr/>
        </p:nvSpPr>
        <p:spPr>
          <a:xfrm>
            <a:off x="9135605" y="2537350"/>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31" name="Rechteck 30"/>
          <p:cNvSpPr>
            <a:spLocks/>
          </p:cNvSpPr>
          <p:nvPr/>
        </p:nvSpPr>
        <p:spPr>
          <a:xfrm>
            <a:off x="9469588" y="2389478"/>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32" name="Rechteck 31"/>
          <p:cNvSpPr>
            <a:spLocks/>
          </p:cNvSpPr>
          <p:nvPr/>
        </p:nvSpPr>
        <p:spPr>
          <a:xfrm>
            <a:off x="9469588" y="253735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cxnSp>
        <p:nvCxnSpPr>
          <p:cNvPr id="33" name="Gewinkelter Verbinder 32"/>
          <p:cNvCxnSpPr>
            <a:stCxn id="27" idx="2"/>
            <a:endCxn id="47" idx="1"/>
          </p:cNvCxnSpPr>
          <p:nvPr/>
        </p:nvCxnSpPr>
        <p:spPr>
          <a:xfrm rot="16200000" flipH="1">
            <a:off x="9267955" y="3174142"/>
            <a:ext cx="703634"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7" idx="2"/>
            <a:endCxn id="49" idx="1"/>
          </p:cNvCxnSpPr>
          <p:nvPr/>
        </p:nvCxnSpPr>
        <p:spPr>
          <a:xfrm rot="16200000" flipH="1">
            <a:off x="8850645" y="3591452"/>
            <a:ext cx="1538255"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9135605" y="268522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40" name="Rechteck 39"/>
          <p:cNvSpPr>
            <a:spLocks/>
          </p:cNvSpPr>
          <p:nvPr/>
        </p:nvSpPr>
        <p:spPr>
          <a:xfrm>
            <a:off x="9469588" y="268522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41" name="Textfeld 40">
            <a:extLst>
              <a:ext uri="{FF2B5EF4-FFF2-40B4-BE49-F238E27FC236}">
                <a16:creationId xmlns:a16="http://schemas.microsoft.com/office/drawing/2014/main" id="{5B1A18FF-FDBD-40AB-9754-9BBA6A568746}"/>
              </a:ext>
            </a:extLst>
          </p:cNvPr>
          <p:cNvSpPr txBox="1"/>
          <p:nvPr/>
        </p:nvSpPr>
        <p:spPr>
          <a:xfrm>
            <a:off x="7613595" y="4822063"/>
            <a:ext cx="3641515" cy="1015663"/>
          </a:xfrm>
          <a:prstGeom prst="rect">
            <a:avLst/>
          </a:prstGeom>
          <a:noFill/>
        </p:spPr>
        <p:txBody>
          <a:bodyPr wrap="square" rtlCol="0">
            <a:spAutoFit/>
          </a:bodyPr>
          <a:lstStyle/>
          <a:p>
            <a:pPr>
              <a:spcAft>
                <a:spcPts val="600"/>
              </a:spcAft>
            </a:pPr>
            <a:r>
              <a:rPr lang="de-DE" sz="1200" dirty="0"/>
              <a:t>Erstellt man ein Template für </a:t>
            </a:r>
            <a:r>
              <a:rPr lang="de-DE" sz="1200" dirty="0" err="1"/>
              <a:t>OnePager</a:t>
            </a:r>
            <a:r>
              <a:rPr lang="de-DE" sz="1200" dirty="0"/>
              <a:t> und ändert dieses später an, kann man mit „Folien synchronisieren“ die Änderungen ganz einfach auf alle </a:t>
            </a:r>
            <a:r>
              <a:rPr lang="de-DE" sz="1200" dirty="0" err="1"/>
              <a:t>OnePager</a:t>
            </a:r>
            <a:r>
              <a:rPr lang="de-DE" sz="1200" dirty="0"/>
              <a:t> übertragen, ohne bestehende Inhalte zu überschreiben</a:t>
            </a:r>
          </a:p>
        </p:txBody>
      </p:sp>
      <p:sp>
        <p:nvSpPr>
          <p:cNvPr id="44" name="Gleichschenkliges Dreieck 43"/>
          <p:cNvSpPr/>
          <p:nvPr/>
        </p:nvSpPr>
        <p:spPr>
          <a:xfrm rot="5400000">
            <a:off x="8717454" y="2568354"/>
            <a:ext cx="372847" cy="10040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Rechteck 46"/>
          <p:cNvSpPr>
            <a:spLocks noChangeAspect="1"/>
          </p:cNvSpPr>
          <p:nvPr/>
        </p:nvSpPr>
        <p:spPr>
          <a:xfrm>
            <a:off x="9692498"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Textfeld 47"/>
          <p:cNvSpPr txBox="1"/>
          <p:nvPr/>
        </p:nvSpPr>
        <p:spPr>
          <a:xfrm>
            <a:off x="9692498" y="3162722"/>
            <a:ext cx="601127" cy="123111"/>
          </a:xfrm>
          <a:prstGeom prst="rect">
            <a:avLst/>
          </a:prstGeom>
          <a:noFill/>
        </p:spPr>
        <p:txBody>
          <a:bodyPr wrap="none" lIns="0" tIns="0" rIns="0" bIns="0" rtlCol="0">
            <a:spAutoFit/>
          </a:bodyPr>
          <a:lstStyle/>
          <a:p>
            <a:r>
              <a:rPr lang="de-DE" sz="800" dirty="0" err="1"/>
              <a:t>OnePager</a:t>
            </a:r>
            <a:r>
              <a:rPr lang="de-DE" sz="800" dirty="0"/>
              <a:t> 1</a:t>
            </a:r>
          </a:p>
        </p:txBody>
      </p:sp>
      <p:sp>
        <p:nvSpPr>
          <p:cNvPr id="49" name="Rechteck 48"/>
          <p:cNvSpPr>
            <a:spLocks noChangeAspect="1"/>
          </p:cNvSpPr>
          <p:nvPr/>
        </p:nvSpPr>
        <p:spPr>
          <a:xfrm>
            <a:off x="9692498"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Textfeld 49"/>
          <p:cNvSpPr txBox="1"/>
          <p:nvPr/>
        </p:nvSpPr>
        <p:spPr>
          <a:xfrm>
            <a:off x="9692498" y="3997343"/>
            <a:ext cx="601127" cy="123111"/>
          </a:xfrm>
          <a:prstGeom prst="rect">
            <a:avLst/>
          </a:prstGeom>
          <a:noFill/>
        </p:spPr>
        <p:txBody>
          <a:bodyPr wrap="none" lIns="0" tIns="0" rIns="0" bIns="0" rtlCol="0">
            <a:spAutoFit/>
          </a:bodyPr>
          <a:lstStyle/>
          <a:p>
            <a:r>
              <a:rPr lang="de-DE" sz="800" dirty="0" err="1"/>
              <a:t>OnePager</a:t>
            </a:r>
            <a:r>
              <a:rPr lang="de-DE" sz="800" dirty="0"/>
              <a:t> 2</a:t>
            </a:r>
          </a:p>
        </p:txBody>
      </p:sp>
      <p:sp>
        <p:nvSpPr>
          <p:cNvPr id="65" name="Rechteck 64"/>
          <p:cNvSpPr/>
          <p:nvPr/>
        </p:nvSpPr>
        <p:spPr>
          <a:xfrm>
            <a:off x="9756707" y="3367457"/>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66" name="Rechteck 65"/>
          <p:cNvSpPr/>
          <p:nvPr/>
        </p:nvSpPr>
        <p:spPr>
          <a:xfrm>
            <a:off x="9756707" y="3515329"/>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67" name="Rechteck 66"/>
          <p:cNvSpPr>
            <a:spLocks/>
          </p:cNvSpPr>
          <p:nvPr/>
        </p:nvSpPr>
        <p:spPr>
          <a:xfrm>
            <a:off x="10090690" y="3367457"/>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abc</a:t>
            </a:r>
            <a:endParaRPr lang="de-DE" sz="800" dirty="0">
              <a:solidFill>
                <a:sysClr val="windowText" lastClr="000000"/>
              </a:solidFill>
            </a:endParaRPr>
          </a:p>
        </p:txBody>
      </p:sp>
      <p:sp>
        <p:nvSpPr>
          <p:cNvPr id="68" name="Rechteck 67"/>
          <p:cNvSpPr>
            <a:spLocks/>
          </p:cNvSpPr>
          <p:nvPr/>
        </p:nvSpPr>
        <p:spPr>
          <a:xfrm>
            <a:off x="10090690" y="351532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def</a:t>
            </a:r>
            <a:endParaRPr lang="de-DE" sz="800" dirty="0">
              <a:solidFill>
                <a:sysClr val="windowText" lastClr="000000"/>
              </a:solidFill>
            </a:endParaRPr>
          </a:p>
        </p:txBody>
      </p:sp>
      <p:sp>
        <p:nvSpPr>
          <p:cNvPr id="69" name="Rechteck 68"/>
          <p:cNvSpPr/>
          <p:nvPr/>
        </p:nvSpPr>
        <p:spPr>
          <a:xfrm>
            <a:off x="9756707" y="3663201"/>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70" name="Rechteck 69"/>
          <p:cNvSpPr>
            <a:spLocks/>
          </p:cNvSpPr>
          <p:nvPr/>
        </p:nvSpPr>
        <p:spPr>
          <a:xfrm>
            <a:off x="10090690" y="3663201"/>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71" name="Rechteck 70"/>
          <p:cNvSpPr/>
          <p:nvPr/>
        </p:nvSpPr>
        <p:spPr>
          <a:xfrm>
            <a:off x="9761642" y="421655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72" name="Rechteck 71"/>
          <p:cNvSpPr/>
          <p:nvPr/>
        </p:nvSpPr>
        <p:spPr>
          <a:xfrm>
            <a:off x="9761642" y="4364424"/>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73" name="Rechteck 72"/>
          <p:cNvSpPr>
            <a:spLocks/>
          </p:cNvSpPr>
          <p:nvPr/>
        </p:nvSpPr>
        <p:spPr>
          <a:xfrm>
            <a:off x="10095625" y="421655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xyz</a:t>
            </a:r>
            <a:endParaRPr lang="de-DE" sz="800" dirty="0">
              <a:solidFill>
                <a:sysClr val="windowText" lastClr="000000"/>
              </a:solidFill>
            </a:endParaRPr>
          </a:p>
        </p:txBody>
      </p:sp>
      <p:sp>
        <p:nvSpPr>
          <p:cNvPr id="74" name="Rechteck 73"/>
          <p:cNvSpPr>
            <a:spLocks/>
          </p:cNvSpPr>
          <p:nvPr/>
        </p:nvSpPr>
        <p:spPr>
          <a:xfrm>
            <a:off x="10095625" y="4364424"/>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solidFill>
                  <a:sysClr val="windowText" lastClr="000000"/>
                </a:solidFill>
              </a:rPr>
              <a:t>123</a:t>
            </a:r>
          </a:p>
        </p:txBody>
      </p:sp>
      <p:sp>
        <p:nvSpPr>
          <p:cNvPr id="75" name="Rechteck 74"/>
          <p:cNvSpPr/>
          <p:nvPr/>
        </p:nvSpPr>
        <p:spPr>
          <a:xfrm>
            <a:off x="9761642" y="4512296"/>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76" name="Rechteck 75"/>
          <p:cNvSpPr>
            <a:spLocks/>
          </p:cNvSpPr>
          <p:nvPr/>
        </p:nvSpPr>
        <p:spPr>
          <a:xfrm>
            <a:off x="10095625" y="4512296"/>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Tree>
    <p:extLst>
      <p:ext uri="{BB962C8B-B14F-4D97-AF65-F5344CB8AC3E}">
        <p14:creationId xmlns:p14="http://schemas.microsoft.com/office/powerpoint/2010/main" val="41607051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1"/>
            </p:custDataLst>
            <p:extLst>
              <p:ext uri="{D42A27DB-BD31-4B8C-83A1-F6EECF244321}">
                <p14:modId xmlns:p14="http://schemas.microsoft.com/office/powerpoint/2010/main" val="43433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hteck 1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opy</a:t>
            </a:r>
            <a:r>
              <a:rPr lang="de-DE" dirty="0"/>
              <a:t>-Paste Funktionen</a:t>
            </a:r>
          </a:p>
        </p:txBody>
      </p:sp>
      <p:pic>
        <p:nvPicPr>
          <p:cNvPr id="3" name="Grafik 2">
            <a:extLst>
              <a:ext uri="{FF2B5EF4-FFF2-40B4-BE49-F238E27FC236}">
                <a16:creationId xmlns:a16="http://schemas.microsoft.com/office/drawing/2014/main" id="{BDCF7E16-2754-444A-A888-55F680A8B89C}"/>
              </a:ext>
            </a:extLst>
          </p:cNvPr>
          <p:cNvPicPr>
            <a:picLocks noChangeAspect="1"/>
          </p:cNvPicPr>
          <p:nvPr/>
        </p:nvPicPr>
        <p:blipFill>
          <a:blip r:embed="rId6"/>
          <a:stretch>
            <a:fillRect/>
          </a:stretch>
        </p:blipFill>
        <p:spPr>
          <a:xfrm>
            <a:off x="838200" y="1861919"/>
            <a:ext cx="2890916" cy="3115110"/>
          </a:xfrm>
          <a:prstGeom prst="rect">
            <a:avLst/>
          </a:prstGeom>
        </p:spPr>
      </p:pic>
      <p:pic>
        <p:nvPicPr>
          <p:cNvPr id="4" name="Grafik 3">
            <a:extLst>
              <a:ext uri="{FF2B5EF4-FFF2-40B4-BE49-F238E27FC236}">
                <a16:creationId xmlns:a16="http://schemas.microsoft.com/office/drawing/2014/main" id="{5C8585FB-28C9-4A81-B470-0580B7B4F738}"/>
              </a:ext>
            </a:extLst>
          </p:cNvPr>
          <p:cNvPicPr>
            <a:picLocks noChangeAspect="1"/>
          </p:cNvPicPr>
          <p:nvPr/>
        </p:nvPicPr>
        <p:blipFill>
          <a:blip r:embed="rId7"/>
          <a:stretch>
            <a:fillRect/>
          </a:stretch>
        </p:blipFill>
        <p:spPr>
          <a:xfrm>
            <a:off x="4100554" y="4259252"/>
            <a:ext cx="2230882" cy="1771897"/>
          </a:xfrm>
          <a:prstGeom prst="rect">
            <a:avLst/>
          </a:prstGeom>
        </p:spPr>
      </p:pic>
      <p:sp>
        <p:nvSpPr>
          <p:cNvPr id="10" name="Rechteck 9"/>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sp>
        <p:nvSpPr>
          <p:cNvPr id="11" name="Rechteck 10">
            <a:extLst>
              <a:ext uri="{FF2B5EF4-FFF2-40B4-BE49-F238E27FC236}">
                <a16:creationId xmlns:a16="http://schemas.microsoft.com/office/drawing/2014/main" id="{C572475E-C162-4F56-8FC8-B6695F3653D8}"/>
              </a:ext>
            </a:extLst>
          </p:cNvPr>
          <p:cNvSpPr/>
          <p:nvPr/>
        </p:nvSpPr>
        <p:spPr>
          <a:xfrm>
            <a:off x="897934" y="4226731"/>
            <a:ext cx="2831181"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a:extLst>
              <a:ext uri="{FF2B5EF4-FFF2-40B4-BE49-F238E27FC236}">
                <a16:creationId xmlns:a16="http://schemas.microsoft.com/office/drawing/2014/main" id="{C572475E-C162-4F56-8FC8-B6695F3653D8}"/>
              </a:ext>
            </a:extLst>
          </p:cNvPr>
          <p:cNvSpPr/>
          <p:nvPr/>
        </p:nvSpPr>
        <p:spPr>
          <a:xfrm>
            <a:off x="4194231" y="5380147"/>
            <a:ext cx="2014129"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Rechteck 4"/>
          <p:cNvSpPr/>
          <p:nvPr/>
        </p:nvSpPr>
        <p:spPr>
          <a:xfrm>
            <a:off x="7570281"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t>A</a:t>
            </a:r>
          </a:p>
          <a:p>
            <a:pPr marL="171450" indent="-171450">
              <a:buFont typeface="Arial" panose="020B0604020202020204" pitchFamily="34" charset="0"/>
              <a:buChar char="•"/>
            </a:pPr>
            <a:r>
              <a:rPr lang="en-US" sz="800" dirty="0"/>
              <a:t>B</a:t>
            </a:r>
          </a:p>
          <a:p>
            <a:pPr marL="171450" indent="-171450">
              <a:buFont typeface="Arial" panose="020B0604020202020204" pitchFamily="34" charset="0"/>
              <a:buChar char="•"/>
            </a:pPr>
            <a:r>
              <a:rPr lang="en-US" sz="800" dirty="0"/>
              <a:t>C</a:t>
            </a:r>
          </a:p>
        </p:txBody>
      </p:sp>
      <p:sp>
        <p:nvSpPr>
          <p:cNvPr id="14" name="Rechteck 13"/>
          <p:cNvSpPr/>
          <p:nvPr/>
        </p:nvSpPr>
        <p:spPr>
          <a:xfrm>
            <a:off x="8283489"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t>D</a:t>
            </a:r>
          </a:p>
          <a:p>
            <a:pPr marL="171450" indent="-171450">
              <a:buFont typeface="Arial" panose="020B0604020202020204" pitchFamily="34" charset="0"/>
              <a:buChar char="•"/>
            </a:pPr>
            <a:r>
              <a:rPr lang="en-US" sz="800" dirty="0"/>
              <a:t>E</a:t>
            </a:r>
          </a:p>
          <a:p>
            <a:pPr marL="171450" indent="-171450">
              <a:buFont typeface="Arial" panose="020B0604020202020204" pitchFamily="34" charset="0"/>
              <a:buChar char="•"/>
            </a:pPr>
            <a:r>
              <a:rPr lang="en-US" sz="800" dirty="0"/>
              <a:t>F</a:t>
            </a:r>
          </a:p>
        </p:txBody>
      </p:sp>
      <p:sp>
        <p:nvSpPr>
          <p:cNvPr id="15" name="Rechteck 14"/>
          <p:cNvSpPr/>
          <p:nvPr/>
        </p:nvSpPr>
        <p:spPr>
          <a:xfrm>
            <a:off x="741197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7" name="Rechteck 16"/>
          <p:cNvSpPr/>
          <p:nvPr/>
        </p:nvSpPr>
        <p:spPr>
          <a:xfrm>
            <a:off x="792315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8" name="Rechteck 17"/>
          <p:cNvSpPr/>
          <p:nvPr/>
        </p:nvSpPr>
        <p:spPr>
          <a:xfrm>
            <a:off x="8434345"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9" name="Rechteck 18"/>
          <p:cNvSpPr/>
          <p:nvPr/>
        </p:nvSpPr>
        <p:spPr>
          <a:xfrm>
            <a:off x="8945530"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0" name="Rechteck 19"/>
          <p:cNvSpPr/>
          <p:nvPr/>
        </p:nvSpPr>
        <p:spPr>
          <a:xfrm>
            <a:off x="9456716"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1" name="Rechteck 20"/>
          <p:cNvSpPr/>
          <p:nvPr/>
        </p:nvSpPr>
        <p:spPr>
          <a:xfrm>
            <a:off x="996790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Textfeld 27">
            <a:extLst>
              <a:ext uri="{FF2B5EF4-FFF2-40B4-BE49-F238E27FC236}">
                <a16:creationId xmlns:a16="http://schemas.microsoft.com/office/drawing/2014/main" id="{5B1A18FF-FDBD-40AB-9754-9BBA6A568746}"/>
              </a:ext>
            </a:extLst>
          </p:cNvPr>
          <p:cNvSpPr txBox="1"/>
          <p:nvPr/>
        </p:nvSpPr>
        <p:spPr>
          <a:xfrm>
            <a:off x="8996698" y="2587749"/>
            <a:ext cx="2461844" cy="830997"/>
          </a:xfrm>
          <a:prstGeom prst="rect">
            <a:avLst/>
          </a:prstGeom>
          <a:noFill/>
        </p:spPr>
        <p:txBody>
          <a:bodyPr wrap="square" rtlCol="0">
            <a:spAutoFit/>
          </a:bodyPr>
          <a:lstStyle/>
          <a:p>
            <a:pPr>
              <a:spcAft>
                <a:spcPts val="600"/>
              </a:spcAft>
            </a:pPr>
            <a:r>
              <a:rPr lang="de-DE" sz="1200" dirty="0"/>
              <a:t>„Shape-Text kopieren“ kopiert die Texte aller gewählten Shapes (getrennt als Paragraphen)</a:t>
            </a:r>
          </a:p>
        </p:txBody>
      </p:sp>
      <p:sp>
        <p:nvSpPr>
          <p:cNvPr id="7" name="Gleichschenkliges Dreieck 6"/>
          <p:cNvSpPr/>
          <p:nvPr/>
        </p:nvSpPr>
        <p:spPr>
          <a:xfrm flipV="1">
            <a:off x="8095213" y="4373252"/>
            <a:ext cx="2582334" cy="21239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feld 28">
            <a:extLst>
              <a:ext uri="{FF2B5EF4-FFF2-40B4-BE49-F238E27FC236}">
                <a16:creationId xmlns:a16="http://schemas.microsoft.com/office/drawing/2014/main" id="{5B1A18FF-FDBD-40AB-9754-9BBA6A568746}"/>
              </a:ext>
            </a:extLst>
          </p:cNvPr>
          <p:cNvSpPr txBox="1"/>
          <p:nvPr/>
        </p:nvSpPr>
        <p:spPr>
          <a:xfrm>
            <a:off x="7261164" y="5194912"/>
            <a:ext cx="4247103" cy="646331"/>
          </a:xfrm>
          <a:prstGeom prst="rect">
            <a:avLst/>
          </a:prstGeom>
          <a:noFill/>
        </p:spPr>
        <p:txBody>
          <a:bodyPr wrap="square" rtlCol="0">
            <a:spAutoFit/>
          </a:bodyPr>
          <a:lstStyle/>
          <a:p>
            <a:pPr>
              <a:spcAft>
                <a:spcPts val="600"/>
              </a:spcAft>
            </a:pPr>
            <a:r>
              <a:rPr lang="de-DE" sz="1200" dirty="0"/>
              <a:t>„Text auf Auswahl verteilen“ verteilt jeden Absatz auf je ein gewähltes Shapes. Sind mehr Shapes als Paragraphen ausgewählt, wird von vorne iteriert.</a:t>
            </a:r>
          </a:p>
        </p:txBody>
      </p:sp>
      <p:sp>
        <p:nvSpPr>
          <p:cNvPr id="30" name="Rechteck 29"/>
          <p:cNvSpPr/>
          <p:nvPr/>
        </p:nvSpPr>
        <p:spPr>
          <a:xfrm>
            <a:off x="1047908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 name="Rechteck 30"/>
          <p:cNvSpPr/>
          <p:nvPr/>
        </p:nvSpPr>
        <p:spPr>
          <a:xfrm>
            <a:off x="10990274"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2" name="Rechteck 31"/>
          <p:cNvSpPr/>
          <p:nvPr/>
        </p:nvSpPr>
        <p:spPr>
          <a:xfrm>
            <a:off x="741197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p>
        </p:txBody>
      </p:sp>
      <p:sp>
        <p:nvSpPr>
          <p:cNvPr id="33" name="Rechteck 32"/>
          <p:cNvSpPr/>
          <p:nvPr/>
        </p:nvSpPr>
        <p:spPr>
          <a:xfrm>
            <a:off x="792315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p>
        </p:txBody>
      </p:sp>
      <p:sp>
        <p:nvSpPr>
          <p:cNvPr id="34" name="Rechteck 33"/>
          <p:cNvSpPr/>
          <p:nvPr/>
        </p:nvSpPr>
        <p:spPr>
          <a:xfrm>
            <a:off x="8434345"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C</a:t>
            </a:r>
          </a:p>
        </p:txBody>
      </p:sp>
      <p:sp>
        <p:nvSpPr>
          <p:cNvPr id="35" name="Rechteck 34"/>
          <p:cNvSpPr/>
          <p:nvPr/>
        </p:nvSpPr>
        <p:spPr>
          <a:xfrm>
            <a:off x="8945530"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D</a:t>
            </a:r>
          </a:p>
        </p:txBody>
      </p:sp>
      <p:sp>
        <p:nvSpPr>
          <p:cNvPr id="36" name="Rechteck 35"/>
          <p:cNvSpPr/>
          <p:nvPr/>
        </p:nvSpPr>
        <p:spPr>
          <a:xfrm>
            <a:off x="9456716"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E</a:t>
            </a:r>
          </a:p>
        </p:txBody>
      </p:sp>
      <p:sp>
        <p:nvSpPr>
          <p:cNvPr id="37" name="Rechteck 36"/>
          <p:cNvSpPr/>
          <p:nvPr/>
        </p:nvSpPr>
        <p:spPr>
          <a:xfrm>
            <a:off x="996790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100000"/>
                  </a:schemeClr>
                </a:solidFill>
              </a:rPr>
              <a:t>F</a:t>
            </a:r>
            <a:endParaRPr lang="en-US" dirty="0">
              <a:solidFill>
                <a:schemeClr val="tx1">
                  <a:lumMod val="100000"/>
                </a:schemeClr>
              </a:solidFill>
            </a:endParaRPr>
          </a:p>
        </p:txBody>
      </p:sp>
      <p:sp>
        <p:nvSpPr>
          <p:cNvPr id="38" name="Rechteck 37"/>
          <p:cNvSpPr/>
          <p:nvPr/>
        </p:nvSpPr>
        <p:spPr>
          <a:xfrm>
            <a:off x="1047908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p>
        </p:txBody>
      </p:sp>
      <p:sp>
        <p:nvSpPr>
          <p:cNvPr id="39" name="Rechteck 38"/>
          <p:cNvSpPr/>
          <p:nvPr/>
        </p:nvSpPr>
        <p:spPr>
          <a:xfrm>
            <a:off x="10990274"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p>
        </p:txBody>
      </p:sp>
    </p:spTree>
    <p:extLst>
      <p:ext uri="{BB962C8B-B14F-4D97-AF65-F5344CB8AC3E}">
        <p14:creationId xmlns:p14="http://schemas.microsoft.com/office/powerpoint/2010/main" val="16623164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137468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Kleine Neuigkeiten</a:t>
            </a:r>
          </a:p>
        </p:txBody>
      </p:sp>
      <p:pic>
        <p:nvPicPr>
          <p:cNvPr id="3" name="Grafik 2"/>
          <p:cNvPicPr>
            <a:picLocks noChangeAspect="1"/>
          </p:cNvPicPr>
          <p:nvPr/>
        </p:nvPicPr>
        <p:blipFill>
          <a:blip r:embed="rId6"/>
          <a:stretch>
            <a:fillRect/>
          </a:stretch>
        </p:blipFill>
        <p:spPr>
          <a:xfrm>
            <a:off x="838200" y="1690688"/>
            <a:ext cx="3924291" cy="2886895"/>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838200" y="4683506"/>
            <a:ext cx="2802827" cy="646331"/>
          </a:xfrm>
          <a:prstGeom prst="rect">
            <a:avLst/>
          </a:prstGeom>
          <a:noFill/>
        </p:spPr>
        <p:txBody>
          <a:bodyPr wrap="square" rtlCol="0">
            <a:spAutoFit/>
          </a:bodyPr>
          <a:lstStyle/>
          <a:p>
            <a:pPr>
              <a:spcAft>
                <a:spcPts val="1200"/>
              </a:spcAft>
            </a:pPr>
            <a:r>
              <a:rPr lang="de-DE" dirty="0"/>
              <a:t>Neue Option „Leere Abschnitte entfernen“</a:t>
            </a:r>
          </a:p>
        </p:txBody>
      </p:sp>
      <p:sp>
        <p:nvSpPr>
          <p:cNvPr id="10" name="Rechteck 9">
            <a:extLst>
              <a:ext uri="{FF2B5EF4-FFF2-40B4-BE49-F238E27FC236}">
                <a16:creationId xmlns:a16="http://schemas.microsoft.com/office/drawing/2014/main" id="{C572475E-C162-4F56-8FC8-B6695F3653D8}"/>
              </a:ext>
            </a:extLst>
          </p:cNvPr>
          <p:cNvSpPr/>
          <p:nvPr/>
        </p:nvSpPr>
        <p:spPr>
          <a:xfrm>
            <a:off x="838199" y="3416371"/>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6" name="Grafik 5"/>
          <p:cNvPicPr>
            <a:picLocks noChangeAspect="1"/>
          </p:cNvPicPr>
          <p:nvPr/>
        </p:nvPicPr>
        <p:blipFill>
          <a:blip r:embed="rId7"/>
          <a:stretch>
            <a:fillRect/>
          </a:stretch>
        </p:blipFill>
        <p:spPr>
          <a:xfrm>
            <a:off x="5430133" y="1690688"/>
            <a:ext cx="531275" cy="956294"/>
          </a:xfrm>
          <a:prstGeom prst="rect">
            <a:avLst/>
          </a:prstGeom>
        </p:spPr>
      </p:pic>
      <p:pic>
        <p:nvPicPr>
          <p:cNvPr id="8" name="Grafik 7"/>
          <p:cNvPicPr>
            <a:picLocks noChangeAspect="1"/>
          </p:cNvPicPr>
          <p:nvPr/>
        </p:nvPicPr>
        <p:blipFill>
          <a:blip r:embed="rId8"/>
          <a:stretch>
            <a:fillRect/>
          </a:stretch>
        </p:blipFill>
        <p:spPr>
          <a:xfrm>
            <a:off x="5961407" y="2646982"/>
            <a:ext cx="2105029" cy="3680449"/>
          </a:xfrm>
          <a:prstGeom prst="rect">
            <a:avLst/>
          </a:prstGeom>
        </p:spPr>
      </p:pic>
      <p:sp>
        <p:nvSpPr>
          <p:cNvPr id="11" name="Textfeld 10">
            <a:extLst>
              <a:ext uri="{FF2B5EF4-FFF2-40B4-BE49-F238E27FC236}">
                <a16:creationId xmlns:a16="http://schemas.microsoft.com/office/drawing/2014/main" id="{5B1A18FF-FDBD-40AB-9754-9BBA6A568746}"/>
              </a:ext>
            </a:extLst>
          </p:cNvPr>
          <p:cNvSpPr txBox="1"/>
          <p:nvPr/>
        </p:nvSpPr>
        <p:spPr>
          <a:xfrm>
            <a:off x="5961408" y="1690688"/>
            <a:ext cx="2489199" cy="923330"/>
          </a:xfrm>
          <a:prstGeom prst="rect">
            <a:avLst/>
          </a:prstGeom>
          <a:noFill/>
        </p:spPr>
        <p:txBody>
          <a:bodyPr wrap="square" rtlCol="0">
            <a:spAutoFit/>
          </a:bodyPr>
          <a:lstStyle/>
          <a:p>
            <a:pPr>
              <a:spcAft>
                <a:spcPts val="1200"/>
              </a:spcAft>
            </a:pPr>
            <a:r>
              <a:rPr lang="de-DE" dirty="0"/>
              <a:t>Erweiterte Shape-Statistiken als Toolbar Fenster</a:t>
            </a:r>
          </a:p>
        </p:txBody>
      </p:sp>
      <p:pic>
        <p:nvPicPr>
          <p:cNvPr id="12" name="Grafik 11">
            <a:extLst>
              <a:ext uri="{FF2B5EF4-FFF2-40B4-BE49-F238E27FC236}">
                <a16:creationId xmlns:a16="http://schemas.microsoft.com/office/drawing/2014/main" id="{256A11DA-78AC-4B34-880E-84F572E32D10}"/>
              </a:ext>
            </a:extLst>
          </p:cNvPr>
          <p:cNvPicPr>
            <a:picLocks noChangeAspect="1"/>
          </p:cNvPicPr>
          <p:nvPr/>
        </p:nvPicPr>
        <p:blipFill>
          <a:blip r:embed="rId9"/>
          <a:stretch>
            <a:fillRect/>
          </a:stretch>
        </p:blipFill>
        <p:spPr>
          <a:xfrm>
            <a:off x="9059334" y="1747015"/>
            <a:ext cx="1887962" cy="3338712"/>
          </a:xfrm>
          <a:prstGeom prst="rect">
            <a:avLst/>
          </a:prstGeom>
        </p:spPr>
      </p:pic>
      <p:sp>
        <p:nvSpPr>
          <p:cNvPr id="13" name="Textfeld 12">
            <a:extLst>
              <a:ext uri="{FF2B5EF4-FFF2-40B4-BE49-F238E27FC236}">
                <a16:creationId xmlns:a16="http://schemas.microsoft.com/office/drawing/2014/main" id="{5B1A18FF-FDBD-40AB-9754-9BBA6A568746}"/>
              </a:ext>
            </a:extLst>
          </p:cNvPr>
          <p:cNvSpPr txBox="1"/>
          <p:nvPr/>
        </p:nvSpPr>
        <p:spPr>
          <a:xfrm>
            <a:off x="9059334" y="5329837"/>
            <a:ext cx="2217459" cy="646331"/>
          </a:xfrm>
          <a:prstGeom prst="rect">
            <a:avLst/>
          </a:prstGeom>
          <a:noFill/>
        </p:spPr>
        <p:txBody>
          <a:bodyPr wrap="square" rtlCol="0">
            <a:spAutoFit/>
          </a:bodyPr>
          <a:lstStyle/>
          <a:p>
            <a:pPr>
              <a:spcAft>
                <a:spcPts val="1200"/>
              </a:spcAft>
            </a:pPr>
            <a:r>
              <a:rPr lang="de-DE" dirty="0"/>
              <a:t>Z-Order nach Position sortieren</a:t>
            </a:r>
          </a:p>
        </p:txBody>
      </p:sp>
      <p:sp>
        <p:nvSpPr>
          <p:cNvPr id="14" name="Rechteck 13">
            <a:extLst>
              <a:ext uri="{FF2B5EF4-FFF2-40B4-BE49-F238E27FC236}">
                <a16:creationId xmlns:a16="http://schemas.microsoft.com/office/drawing/2014/main" id="{C572475E-C162-4F56-8FC8-B6695F3653D8}"/>
              </a:ext>
            </a:extLst>
          </p:cNvPr>
          <p:cNvSpPr/>
          <p:nvPr/>
        </p:nvSpPr>
        <p:spPr>
          <a:xfrm>
            <a:off x="9180884" y="3609681"/>
            <a:ext cx="1681850" cy="147604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3443387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426791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8" name="Rechteck 7"/>
          <p:cNvSpPr/>
          <p:nvPr/>
        </p:nvSpPr>
        <p:spPr>
          <a:xfrm>
            <a:off x="7217204" y="5730055"/>
            <a:ext cx="4208834" cy="785017"/>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Titel 3"/>
          <p:cNvSpPr>
            <a:spLocks noGrp="1"/>
          </p:cNvSpPr>
          <p:nvPr>
            <p:ph type="title"/>
          </p:nvPr>
        </p:nvSpPr>
        <p:spPr/>
        <p:txBody>
          <a:bodyPr/>
          <a:lstStyle/>
          <a:p>
            <a:r>
              <a:rPr lang="de-DE" dirty="0"/>
              <a:t>Diverse Verbesserungen</a:t>
            </a:r>
          </a:p>
        </p:txBody>
      </p:sp>
      <p:sp>
        <p:nvSpPr>
          <p:cNvPr id="2" name="Textfeld 1"/>
          <p:cNvSpPr txBox="1"/>
          <p:nvPr/>
        </p:nvSpPr>
        <p:spPr>
          <a:xfrm>
            <a:off x="7580370" y="5937898"/>
            <a:ext cx="963725" cy="369332"/>
          </a:xfrm>
          <a:prstGeom prst="rect">
            <a:avLst/>
          </a:prstGeom>
          <a:noFill/>
        </p:spPr>
        <p:txBody>
          <a:bodyPr wrap="none" rtlCol="0">
            <a:spAutoFit/>
          </a:bodyPr>
          <a:lstStyle/>
          <a:p>
            <a:r>
              <a:rPr lang="de-DE" dirty="0"/>
              <a:t>Master</a:t>
            </a:r>
          </a:p>
        </p:txBody>
      </p:sp>
      <p:sp>
        <p:nvSpPr>
          <p:cNvPr id="6" name="Textfeld 5"/>
          <p:cNvSpPr txBox="1"/>
          <p:nvPr/>
        </p:nvSpPr>
        <p:spPr>
          <a:xfrm>
            <a:off x="8825407" y="5937898"/>
            <a:ext cx="2346604" cy="369332"/>
          </a:xfrm>
          <a:prstGeom prst="rect">
            <a:avLst/>
          </a:prstGeom>
          <a:noFill/>
        </p:spPr>
        <p:txBody>
          <a:bodyPr wrap="none" rtlCol="0">
            <a:spAutoFit/>
          </a:bodyPr>
          <a:lstStyle/>
          <a:p>
            <a:r>
              <a:rPr lang="de-DE" dirty="0"/>
              <a:t>Referenz/Haupt-…</a:t>
            </a:r>
          </a:p>
        </p:txBody>
      </p:sp>
      <p:sp>
        <p:nvSpPr>
          <p:cNvPr id="7" name="Pfeil nach rechts 6"/>
          <p:cNvSpPr/>
          <p:nvPr/>
        </p:nvSpPr>
        <p:spPr>
          <a:xfrm>
            <a:off x="8628638" y="6075467"/>
            <a:ext cx="190165" cy="94194"/>
          </a:xfrm>
          <a:prstGeom prst="rightArrow">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9" name="Gerader Verbinder 8"/>
          <p:cNvCxnSpPr/>
          <p:nvPr/>
        </p:nvCxnSpPr>
        <p:spPr>
          <a:xfrm flipV="1">
            <a:off x="7580370" y="5978770"/>
            <a:ext cx="849549" cy="328460"/>
          </a:xfrm>
          <a:prstGeom prst="line">
            <a:avLst/>
          </a:prstGeom>
          <a:ln w="28575">
            <a:solidFill>
              <a:schemeClr val="tx1">
                <a:lumMod val="100000"/>
              </a:schemeClr>
            </a:solidFill>
          </a:ln>
        </p:spPr>
        <p:style>
          <a:lnRef idx="1">
            <a:schemeClr val="accent1"/>
          </a:lnRef>
          <a:fillRef idx="0">
            <a:schemeClr val="accent1"/>
          </a:fillRef>
          <a:effectRef idx="0">
            <a:schemeClr val="accent1"/>
          </a:effectRef>
          <a:fontRef idx="minor">
            <a:schemeClr val="tx1"/>
          </a:fontRef>
        </p:style>
      </p:cxnSp>
      <p:pic>
        <p:nvPicPr>
          <p:cNvPr id="3" name="Grafik 2">
            <a:extLst>
              <a:ext uri="{FF2B5EF4-FFF2-40B4-BE49-F238E27FC236}">
                <a16:creationId xmlns:a16="http://schemas.microsoft.com/office/drawing/2014/main" id="{D993449E-4649-42F7-B346-BEFD2703F5C1}"/>
              </a:ext>
            </a:extLst>
          </p:cNvPr>
          <p:cNvPicPr>
            <a:picLocks noChangeAspect="1"/>
          </p:cNvPicPr>
          <p:nvPr/>
        </p:nvPicPr>
        <p:blipFill>
          <a:blip r:embed="rId6"/>
          <a:stretch>
            <a:fillRect/>
          </a:stretch>
        </p:blipFill>
        <p:spPr>
          <a:xfrm>
            <a:off x="838200" y="2251172"/>
            <a:ext cx="1844766" cy="4404683"/>
          </a:xfrm>
          <a:prstGeom prst="rect">
            <a:avLst/>
          </a:prstGeom>
        </p:spPr>
      </p:pic>
      <p:sp>
        <p:nvSpPr>
          <p:cNvPr id="14" name="Textfeld 13"/>
          <p:cNvSpPr txBox="1"/>
          <p:nvPr/>
        </p:nvSpPr>
        <p:spPr>
          <a:xfrm>
            <a:off x="8362309" y="2058009"/>
            <a:ext cx="2873748" cy="646331"/>
          </a:xfrm>
          <a:prstGeom prst="rect">
            <a:avLst/>
          </a:prstGeom>
          <a:noFill/>
        </p:spPr>
        <p:txBody>
          <a:bodyPr wrap="square" rtlCol="0">
            <a:spAutoFit/>
          </a:bodyPr>
          <a:lstStyle/>
          <a:p>
            <a:r>
              <a:rPr lang="de-DE" dirty="0"/>
              <a:t>Update auf </a:t>
            </a:r>
            <a:r>
              <a:rPr lang="de-DE" dirty="0" err="1"/>
              <a:t>FontAwesome</a:t>
            </a:r>
            <a:r>
              <a:rPr lang="de-DE" dirty="0"/>
              <a:t> v5.15.0</a:t>
            </a:r>
          </a:p>
        </p:txBody>
      </p:sp>
      <p:pic>
        <p:nvPicPr>
          <p:cNvPr id="16" name="Grafik 15">
            <a:extLst>
              <a:ext uri="{FF2B5EF4-FFF2-40B4-BE49-F238E27FC236}">
                <a16:creationId xmlns:a16="http://schemas.microsoft.com/office/drawing/2014/main" id="{D6DC64A6-29AD-4B0F-ACFC-D9AD79A412E7}"/>
              </a:ext>
            </a:extLst>
          </p:cNvPr>
          <p:cNvPicPr>
            <a:picLocks noChangeAspect="1"/>
          </p:cNvPicPr>
          <p:nvPr/>
        </p:nvPicPr>
        <p:blipFill>
          <a:blip r:embed="rId7"/>
          <a:stretch>
            <a:fillRect/>
          </a:stretch>
        </p:blipFill>
        <p:spPr>
          <a:xfrm>
            <a:off x="3647805" y="2528755"/>
            <a:ext cx="3386563" cy="1061123"/>
          </a:xfrm>
          <a:prstGeom prst="rect">
            <a:avLst/>
          </a:prstGeom>
        </p:spPr>
      </p:pic>
      <p:sp>
        <p:nvSpPr>
          <p:cNvPr id="17" name="Textfeld 16"/>
          <p:cNvSpPr txBox="1"/>
          <p:nvPr/>
        </p:nvSpPr>
        <p:spPr>
          <a:xfrm>
            <a:off x="3647805" y="1538222"/>
            <a:ext cx="3491551" cy="923330"/>
          </a:xfrm>
          <a:prstGeom prst="rect">
            <a:avLst/>
          </a:prstGeom>
          <a:noFill/>
        </p:spPr>
        <p:txBody>
          <a:bodyPr wrap="square" rtlCol="0">
            <a:spAutoFit/>
          </a:bodyPr>
          <a:lstStyle/>
          <a:p>
            <a:r>
              <a:rPr lang="de-DE" dirty="0"/>
              <a:t>Komprimierte Schriftart und Absatzgruppe nun Standard auch im 3-Seiten-Layout</a:t>
            </a:r>
          </a:p>
        </p:txBody>
      </p:sp>
      <p:sp>
        <p:nvSpPr>
          <p:cNvPr id="18" name="Textfeld 17"/>
          <p:cNvSpPr txBox="1"/>
          <p:nvPr/>
        </p:nvSpPr>
        <p:spPr>
          <a:xfrm>
            <a:off x="2798198" y="5663940"/>
            <a:ext cx="3526402" cy="923330"/>
          </a:xfrm>
          <a:prstGeom prst="rect">
            <a:avLst/>
          </a:prstGeom>
          <a:noFill/>
        </p:spPr>
        <p:txBody>
          <a:bodyPr wrap="square" rtlCol="0">
            <a:spAutoFit/>
          </a:bodyPr>
          <a:lstStyle/>
          <a:p>
            <a:r>
              <a:rPr lang="de-DE" dirty="0"/>
              <a:t>Shapes mit Tages auswählen (typischerweise BKT-</a:t>
            </a:r>
            <a:r>
              <a:rPr lang="de-DE" dirty="0" err="1"/>
              <a:t>Smartshapes</a:t>
            </a:r>
            <a:r>
              <a:rPr lang="de-DE" dirty="0"/>
              <a:t> wie die Ampel)</a:t>
            </a:r>
          </a:p>
        </p:txBody>
      </p:sp>
      <p:sp>
        <p:nvSpPr>
          <p:cNvPr id="19" name="Textfeld 18"/>
          <p:cNvSpPr txBox="1"/>
          <p:nvPr/>
        </p:nvSpPr>
        <p:spPr>
          <a:xfrm>
            <a:off x="7217204" y="5418478"/>
            <a:ext cx="3540868" cy="276999"/>
          </a:xfrm>
          <a:prstGeom prst="rect">
            <a:avLst/>
          </a:prstGeom>
          <a:noFill/>
        </p:spPr>
        <p:txBody>
          <a:bodyPr wrap="square" lIns="0" tIns="0" rIns="0" bIns="0" rtlCol="0">
            <a:spAutoFit/>
          </a:bodyPr>
          <a:lstStyle/>
          <a:p>
            <a:r>
              <a:rPr lang="de-DE" dirty="0"/>
              <a:t>Political Correctness</a:t>
            </a:r>
          </a:p>
        </p:txBody>
      </p:sp>
      <p:pic>
        <p:nvPicPr>
          <p:cNvPr id="10" name="Grafik 9"/>
          <p:cNvPicPr>
            <a:picLocks noChangeAspect="1"/>
          </p:cNvPicPr>
          <p:nvPr/>
        </p:nvPicPr>
        <p:blipFill>
          <a:blip r:embed="rId8"/>
          <a:stretch>
            <a:fillRect/>
          </a:stretch>
        </p:blipFill>
        <p:spPr>
          <a:xfrm>
            <a:off x="8446852" y="2847732"/>
            <a:ext cx="1985983" cy="1255742"/>
          </a:xfrm>
          <a:prstGeom prst="rect">
            <a:avLst/>
          </a:prstGeom>
        </p:spPr>
      </p:pic>
      <p:sp>
        <p:nvSpPr>
          <p:cNvPr id="20" name="Rechteck 19">
            <a:extLst>
              <a:ext uri="{FF2B5EF4-FFF2-40B4-BE49-F238E27FC236}">
                <a16:creationId xmlns:a16="http://schemas.microsoft.com/office/drawing/2014/main" id="{C572475E-C162-4F56-8FC8-B6695F3653D8}"/>
              </a:ext>
            </a:extLst>
          </p:cNvPr>
          <p:cNvSpPr/>
          <p:nvPr/>
        </p:nvSpPr>
        <p:spPr>
          <a:xfrm>
            <a:off x="838200" y="6379308"/>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p:cNvSpPr txBox="1"/>
          <p:nvPr/>
        </p:nvSpPr>
        <p:spPr>
          <a:xfrm>
            <a:off x="3647805" y="3589878"/>
            <a:ext cx="3491551" cy="461665"/>
          </a:xfrm>
          <a:prstGeom prst="rect">
            <a:avLst/>
          </a:prstGeom>
          <a:noFill/>
        </p:spPr>
        <p:txBody>
          <a:bodyPr wrap="square" rtlCol="0">
            <a:spAutoFit/>
          </a:bodyPr>
          <a:lstStyle/>
          <a:p>
            <a:r>
              <a:rPr lang="de-DE" sz="1200" i="1" dirty="0"/>
              <a:t>(Über </a:t>
            </a:r>
            <a:r>
              <a:rPr lang="de-DE" sz="1200" i="1" dirty="0" err="1"/>
              <a:t>Theme</a:t>
            </a:r>
            <a:r>
              <a:rPr lang="de-DE" sz="1200" i="1" dirty="0"/>
              <a:t>-Einstellungen lässt sich aber die alte Konfiguration wiederherstellen)</a:t>
            </a:r>
          </a:p>
        </p:txBody>
      </p:sp>
    </p:spTree>
    <p:extLst>
      <p:ext uri="{BB962C8B-B14F-4D97-AF65-F5344CB8AC3E}">
        <p14:creationId xmlns:p14="http://schemas.microsoft.com/office/powerpoint/2010/main" val="11561921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248608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1</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26264248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98236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unktion “Shape skalieren”</a:t>
            </a:r>
          </a:p>
        </p:txBody>
      </p:sp>
      <p:pic>
        <p:nvPicPr>
          <p:cNvPr id="16" name="Grafik 15">
            <a:extLst>
              <a:ext uri="{FF2B5EF4-FFF2-40B4-BE49-F238E27FC236}">
                <a16:creationId xmlns:a16="http://schemas.microsoft.com/office/drawing/2014/main" id="{B89D686F-C12B-49EC-9382-3C3C4679F9B1}"/>
              </a:ext>
            </a:extLst>
          </p:cNvPr>
          <p:cNvPicPr>
            <a:picLocks noChangeAspect="1"/>
          </p:cNvPicPr>
          <p:nvPr/>
        </p:nvPicPr>
        <p:blipFill>
          <a:blip r:embed="rId6"/>
          <a:stretch>
            <a:fillRect/>
          </a:stretch>
        </p:blipFill>
        <p:spPr>
          <a:xfrm>
            <a:off x="1352471" y="3676489"/>
            <a:ext cx="4642199" cy="1945213"/>
          </a:xfrm>
          <a:prstGeom prst="rect">
            <a:avLst/>
          </a:prstGeom>
        </p:spPr>
      </p:pic>
      <p:grpSp>
        <p:nvGrpSpPr>
          <p:cNvPr id="8" name="Gruppieren 7"/>
          <p:cNvGrpSpPr/>
          <p:nvPr/>
        </p:nvGrpSpPr>
        <p:grpSpPr>
          <a:xfrm>
            <a:off x="6989379" y="3909850"/>
            <a:ext cx="1912883" cy="1476702"/>
            <a:chOff x="6316717" y="3310760"/>
            <a:chExt cx="1912883" cy="1476702"/>
          </a:xfrm>
        </p:grpSpPr>
        <p:sp>
          <p:nvSpPr>
            <p:cNvPr id="6" name="Rechteck 5"/>
            <p:cNvSpPr/>
            <p:nvPr/>
          </p:nvSpPr>
          <p:spPr>
            <a:xfrm>
              <a:off x="6316717" y="3310760"/>
              <a:ext cx="1912883" cy="378372"/>
            </a:xfrm>
            <a:prstGeom prst="rect">
              <a:avLst/>
            </a:prstGeom>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DEMO</a:t>
              </a:r>
            </a:p>
          </p:txBody>
        </p:sp>
        <p:sp>
          <p:nvSpPr>
            <p:cNvPr id="7" name="Rechteck 6"/>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600" dirty="0"/>
                <a:t>Test 1</a:t>
              </a:r>
            </a:p>
            <a:p>
              <a:pPr marL="285750" indent="-285750">
                <a:buFont typeface="Arial" panose="020B0604020202020204" pitchFamily="34" charset="0"/>
                <a:buChar char="•"/>
              </a:pPr>
              <a:r>
                <a:rPr lang="de-DE" sz="1600" dirty="0"/>
                <a:t>Test 2</a:t>
              </a:r>
            </a:p>
            <a:p>
              <a:pPr marL="285750" indent="-285750">
                <a:buFont typeface="Arial" panose="020B0604020202020204" pitchFamily="34" charset="0"/>
                <a:buChar char="•"/>
              </a:pPr>
              <a:r>
                <a:rPr lang="de-DE" sz="1600" dirty="0"/>
                <a:t>Test 3</a:t>
              </a:r>
            </a:p>
          </p:txBody>
        </p:sp>
      </p:grpSp>
      <p:grpSp>
        <p:nvGrpSpPr>
          <p:cNvPr id="9" name="Gruppieren 8"/>
          <p:cNvGrpSpPr/>
          <p:nvPr/>
        </p:nvGrpSpPr>
        <p:grpSpPr>
          <a:xfrm>
            <a:off x="9785130" y="3909851"/>
            <a:ext cx="957600" cy="739245"/>
            <a:chOff x="6316717" y="3310760"/>
            <a:chExt cx="1912883" cy="1476702"/>
          </a:xfrm>
        </p:grpSpPr>
        <p:sp>
          <p:nvSpPr>
            <p:cNvPr id="10" name="Rechteck 9"/>
            <p:cNvSpPr/>
            <p:nvPr/>
          </p:nvSpPr>
          <p:spPr>
            <a:xfrm>
              <a:off x="6316717" y="3310760"/>
              <a:ext cx="1912883" cy="378372"/>
            </a:xfrm>
            <a:prstGeom prst="rect">
              <a:avLst/>
            </a:prstGeom>
            <a:ln w="38146"/>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algn="ctr"/>
              <a:r>
                <a:rPr lang="de-DE" sz="901" b="1" dirty="0"/>
                <a:t>DEMO</a:t>
              </a:r>
            </a:p>
          </p:txBody>
        </p:sp>
        <p:sp>
          <p:nvSpPr>
            <p:cNvPr id="11" name="Rechteck 10"/>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marL="143048" indent="-143048">
                <a:buFont typeface="Arial" panose="020B0604020202020204" pitchFamily="34" charset="0"/>
                <a:buChar char="•"/>
              </a:pPr>
              <a:r>
                <a:rPr lang="de-DE" sz="801" dirty="0"/>
                <a:t>Test 1</a:t>
              </a:r>
            </a:p>
            <a:p>
              <a:pPr marL="143048" indent="-143048">
                <a:buFont typeface="Arial" panose="020B0604020202020204" pitchFamily="34" charset="0"/>
                <a:buChar char="•"/>
              </a:pPr>
              <a:r>
                <a:rPr lang="de-DE" sz="801" dirty="0"/>
                <a:t>Test 2</a:t>
              </a:r>
            </a:p>
            <a:p>
              <a:pPr marL="143048" indent="-143048">
                <a:buFont typeface="Arial" panose="020B0604020202020204" pitchFamily="34" charset="0"/>
                <a:buChar char="•"/>
              </a:pPr>
              <a:r>
                <a:rPr lang="de-DE" sz="801" dirty="0"/>
                <a:t>Test 3</a:t>
              </a:r>
            </a:p>
          </p:txBody>
        </p:sp>
      </p:grpSp>
      <p:pic>
        <p:nvPicPr>
          <p:cNvPr id="15" name="Grafik 14">
            <a:extLst>
              <a:ext uri="{FF2B5EF4-FFF2-40B4-BE49-F238E27FC236}">
                <a16:creationId xmlns:a16="http://schemas.microsoft.com/office/drawing/2014/main" id="{56397E89-B654-484B-8A1D-776B8A83F8C9}"/>
              </a:ext>
            </a:extLst>
          </p:cNvPr>
          <p:cNvPicPr>
            <a:picLocks noChangeAspect="1"/>
          </p:cNvPicPr>
          <p:nvPr/>
        </p:nvPicPr>
        <p:blipFill>
          <a:blip r:embed="rId7"/>
          <a:stretch>
            <a:fillRect/>
          </a:stretch>
        </p:blipFill>
        <p:spPr>
          <a:xfrm>
            <a:off x="1352471" y="1926142"/>
            <a:ext cx="2229386" cy="1425238"/>
          </a:xfrm>
          <a:prstGeom prst="rect">
            <a:avLst/>
          </a:prstGeom>
        </p:spPr>
      </p:pic>
      <p:sp>
        <p:nvSpPr>
          <p:cNvPr id="13" name="Rechteck 12">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Chevron 13"/>
          <p:cNvSpPr/>
          <p:nvPr/>
        </p:nvSpPr>
        <p:spPr>
          <a:xfrm>
            <a:off x="9317421" y="3909850"/>
            <a:ext cx="183930" cy="651641"/>
          </a:xfrm>
          <a:prstGeom prst="chevron">
            <a:avLst>
              <a:gd name="adj" fmla="val 64286"/>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Tree>
    <p:extLst>
      <p:ext uri="{BB962C8B-B14F-4D97-AF65-F5344CB8AC3E}">
        <p14:creationId xmlns:p14="http://schemas.microsoft.com/office/powerpoint/2010/main" val="19794121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2CA4BE77-C99B-A484-EF69-C5E20B814EDF}"/>
              </a:ext>
            </a:extLst>
          </p:cNvPr>
          <p:cNvGraphicFramePr>
            <a:graphicFrameLocks noChangeAspect="1"/>
          </p:cNvGraphicFramePr>
          <p:nvPr>
            <p:custDataLst>
              <p:tags r:id="rId1"/>
            </p:custDataLst>
            <p:extLst>
              <p:ext uri="{D42A27DB-BD31-4B8C-83A1-F6EECF244321}">
                <p14:modId xmlns:p14="http://schemas.microsoft.com/office/powerpoint/2010/main" val="2712584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40" imgH="540" progId="TCLayout.ActiveDocument.1">
                  <p:embed/>
                </p:oleObj>
              </mc:Choice>
              <mc:Fallback>
                <p:oleObj name="think-cell Folie" r:id="rId3" imgW="540"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B746243-3BAC-B12A-47F8-882032E76405}"/>
              </a:ext>
            </a:extLst>
          </p:cNvPr>
          <p:cNvSpPr>
            <a:spLocks noGrp="1"/>
          </p:cNvSpPr>
          <p:nvPr>
            <p:ph type="title"/>
          </p:nvPr>
        </p:nvSpPr>
        <p:spPr/>
        <p:txBody>
          <a:bodyPr vert="horz"/>
          <a:lstStyle/>
          <a:p>
            <a:r>
              <a:rPr lang="de-DE"/>
              <a:t>Funktion Auto-Gruppieren</a:t>
            </a:r>
            <a:endParaRPr lang="de-DE" dirty="0"/>
          </a:p>
        </p:txBody>
      </p:sp>
      <p:sp>
        <p:nvSpPr>
          <p:cNvPr id="4" name="Rechteck 3">
            <a:extLst>
              <a:ext uri="{FF2B5EF4-FFF2-40B4-BE49-F238E27FC236}">
                <a16:creationId xmlns:a16="http://schemas.microsoft.com/office/drawing/2014/main" id="{DCBD4C88-83B5-C7AF-59CA-43C2C07D834C}"/>
              </a:ext>
            </a:extLst>
          </p:cNvPr>
          <p:cNvSpPr/>
          <p:nvPr/>
        </p:nvSpPr>
        <p:spPr>
          <a:xfrm>
            <a:off x="4966447" y="1546411"/>
            <a:ext cx="2259105" cy="188258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Rechteck 5">
            <a:extLst>
              <a:ext uri="{FF2B5EF4-FFF2-40B4-BE49-F238E27FC236}">
                <a16:creationId xmlns:a16="http://schemas.microsoft.com/office/drawing/2014/main" id="{FD3BE575-CF60-189C-36E3-9BBB0AE4E725}"/>
              </a:ext>
            </a:extLst>
          </p:cNvPr>
          <p:cNvSpPr/>
          <p:nvPr/>
        </p:nvSpPr>
        <p:spPr>
          <a:xfrm>
            <a:off x="5118849" y="1734670"/>
            <a:ext cx="1954304" cy="394447"/>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A</a:t>
            </a:r>
            <a:endParaRPr lang="de-DE" dirty="0"/>
          </a:p>
        </p:txBody>
      </p:sp>
      <p:sp>
        <p:nvSpPr>
          <p:cNvPr id="8" name="Rechteck 7">
            <a:extLst>
              <a:ext uri="{FF2B5EF4-FFF2-40B4-BE49-F238E27FC236}">
                <a16:creationId xmlns:a16="http://schemas.microsoft.com/office/drawing/2014/main" id="{880F4995-031B-030B-20EA-EA4CEC091AE5}"/>
              </a:ext>
            </a:extLst>
          </p:cNvPr>
          <p:cNvSpPr/>
          <p:nvPr/>
        </p:nvSpPr>
        <p:spPr>
          <a:xfrm>
            <a:off x="5118849" y="2320737"/>
            <a:ext cx="1954304" cy="394447"/>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B</a:t>
            </a:r>
            <a:endParaRPr lang="de-DE" dirty="0"/>
          </a:p>
        </p:txBody>
      </p:sp>
      <p:sp>
        <p:nvSpPr>
          <p:cNvPr id="9" name="Rechteck 8">
            <a:extLst>
              <a:ext uri="{FF2B5EF4-FFF2-40B4-BE49-F238E27FC236}">
                <a16:creationId xmlns:a16="http://schemas.microsoft.com/office/drawing/2014/main" id="{B5A67D58-CFB1-434D-C153-046912B98971}"/>
              </a:ext>
            </a:extLst>
          </p:cNvPr>
          <p:cNvSpPr/>
          <p:nvPr/>
        </p:nvSpPr>
        <p:spPr>
          <a:xfrm>
            <a:off x="5118849" y="2906805"/>
            <a:ext cx="1954304" cy="394447"/>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C</a:t>
            </a:r>
            <a:endParaRPr lang="de-DE" dirty="0"/>
          </a:p>
        </p:txBody>
      </p:sp>
      <p:sp>
        <p:nvSpPr>
          <p:cNvPr id="5" name="Rechteck 4">
            <a:extLst>
              <a:ext uri="{FF2B5EF4-FFF2-40B4-BE49-F238E27FC236}">
                <a16:creationId xmlns:a16="http://schemas.microsoft.com/office/drawing/2014/main" id="{AB894D3B-538A-438D-53A8-1B8B72B488BB}"/>
              </a:ext>
            </a:extLst>
          </p:cNvPr>
          <p:cNvSpPr/>
          <p:nvPr/>
        </p:nvSpPr>
        <p:spPr>
          <a:xfrm>
            <a:off x="7566212" y="1546412"/>
            <a:ext cx="1949824" cy="7306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a:extLst>
              <a:ext uri="{FF2B5EF4-FFF2-40B4-BE49-F238E27FC236}">
                <a16:creationId xmlns:a16="http://schemas.microsoft.com/office/drawing/2014/main" id="{2A3B6802-3FFD-9DC1-8BAC-200B6CE74278}"/>
              </a:ext>
            </a:extLst>
          </p:cNvPr>
          <p:cNvSpPr/>
          <p:nvPr/>
        </p:nvSpPr>
        <p:spPr>
          <a:xfrm>
            <a:off x="7566212" y="2698376"/>
            <a:ext cx="1949824" cy="7306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a:extLst>
              <a:ext uri="{FF2B5EF4-FFF2-40B4-BE49-F238E27FC236}">
                <a16:creationId xmlns:a16="http://schemas.microsoft.com/office/drawing/2014/main" id="{D657ADDD-4340-6D2F-A2A4-3E3F5826C89B}"/>
              </a:ext>
            </a:extLst>
          </p:cNvPr>
          <p:cNvSpPr/>
          <p:nvPr/>
        </p:nvSpPr>
        <p:spPr>
          <a:xfrm>
            <a:off x="7696616" y="1597959"/>
            <a:ext cx="794831" cy="611841"/>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1</a:t>
            </a:r>
            <a:endParaRPr lang="de-DE" dirty="0"/>
          </a:p>
        </p:txBody>
      </p:sp>
      <p:sp>
        <p:nvSpPr>
          <p:cNvPr id="11" name="Rechteck 10">
            <a:extLst>
              <a:ext uri="{FF2B5EF4-FFF2-40B4-BE49-F238E27FC236}">
                <a16:creationId xmlns:a16="http://schemas.microsoft.com/office/drawing/2014/main" id="{76A23486-2920-9BEC-5B79-30F4A9472250}"/>
              </a:ext>
            </a:extLst>
          </p:cNvPr>
          <p:cNvSpPr/>
          <p:nvPr/>
        </p:nvSpPr>
        <p:spPr>
          <a:xfrm>
            <a:off x="8578382" y="1597959"/>
            <a:ext cx="794831" cy="611841"/>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2</a:t>
            </a:r>
            <a:endParaRPr lang="de-DE" dirty="0"/>
          </a:p>
        </p:txBody>
      </p:sp>
      <p:sp>
        <p:nvSpPr>
          <p:cNvPr id="12" name="Rechteck 11">
            <a:extLst>
              <a:ext uri="{FF2B5EF4-FFF2-40B4-BE49-F238E27FC236}">
                <a16:creationId xmlns:a16="http://schemas.microsoft.com/office/drawing/2014/main" id="{ADC31D66-FF25-0279-99E4-B51289C4E766}"/>
              </a:ext>
            </a:extLst>
          </p:cNvPr>
          <p:cNvSpPr/>
          <p:nvPr/>
        </p:nvSpPr>
        <p:spPr>
          <a:xfrm>
            <a:off x="7696616" y="2751044"/>
            <a:ext cx="794831" cy="611841"/>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X</a:t>
            </a:r>
            <a:endParaRPr lang="de-DE" dirty="0"/>
          </a:p>
        </p:txBody>
      </p:sp>
      <p:sp>
        <p:nvSpPr>
          <p:cNvPr id="13" name="Rechteck 12">
            <a:extLst>
              <a:ext uri="{FF2B5EF4-FFF2-40B4-BE49-F238E27FC236}">
                <a16:creationId xmlns:a16="http://schemas.microsoft.com/office/drawing/2014/main" id="{CDA4C86F-9CA7-6C08-5C0C-A7A12106D250}"/>
              </a:ext>
            </a:extLst>
          </p:cNvPr>
          <p:cNvSpPr/>
          <p:nvPr/>
        </p:nvSpPr>
        <p:spPr>
          <a:xfrm>
            <a:off x="8578382" y="2751044"/>
            <a:ext cx="794831" cy="611841"/>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Y</a:t>
            </a:r>
            <a:endParaRPr lang="de-DE" dirty="0"/>
          </a:p>
        </p:txBody>
      </p:sp>
      <p:grpSp>
        <p:nvGrpSpPr>
          <p:cNvPr id="33" name="Gruppieren 32">
            <a:extLst>
              <a:ext uri="{FF2B5EF4-FFF2-40B4-BE49-F238E27FC236}">
                <a16:creationId xmlns:a16="http://schemas.microsoft.com/office/drawing/2014/main" id="{7929F89F-858F-0652-D3C8-0FCA61337C5C}"/>
              </a:ext>
            </a:extLst>
          </p:cNvPr>
          <p:cNvGrpSpPr/>
          <p:nvPr/>
        </p:nvGrpSpPr>
        <p:grpSpPr>
          <a:xfrm>
            <a:off x="6804211" y="3993774"/>
            <a:ext cx="2259105" cy="1882589"/>
            <a:chOff x="6804211" y="3307976"/>
            <a:chExt cx="2259105" cy="1882589"/>
          </a:xfrm>
        </p:grpSpPr>
        <p:sp>
          <p:nvSpPr>
            <p:cNvPr id="19" name="Rechteck 18">
              <a:extLst>
                <a:ext uri="{FF2B5EF4-FFF2-40B4-BE49-F238E27FC236}">
                  <a16:creationId xmlns:a16="http://schemas.microsoft.com/office/drawing/2014/main" id="{A7639287-0ED7-6C9C-3468-B44393CE345F}"/>
                </a:ext>
              </a:extLst>
            </p:cNvPr>
            <p:cNvSpPr/>
            <p:nvPr/>
          </p:nvSpPr>
          <p:spPr>
            <a:xfrm>
              <a:off x="6804211" y="3307976"/>
              <a:ext cx="2259105" cy="188258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2330F30C-2952-C167-4374-378B837C8B3F}"/>
                </a:ext>
              </a:extLst>
            </p:cNvPr>
            <p:cNvSpPr/>
            <p:nvPr/>
          </p:nvSpPr>
          <p:spPr>
            <a:xfrm>
              <a:off x="6956613" y="3496235"/>
              <a:ext cx="1954304" cy="394447"/>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A</a:t>
              </a:r>
              <a:endParaRPr lang="de-DE" dirty="0"/>
            </a:p>
          </p:txBody>
        </p:sp>
        <p:sp>
          <p:nvSpPr>
            <p:cNvPr id="21" name="Rechteck 20">
              <a:extLst>
                <a:ext uri="{FF2B5EF4-FFF2-40B4-BE49-F238E27FC236}">
                  <a16:creationId xmlns:a16="http://schemas.microsoft.com/office/drawing/2014/main" id="{61E11F0D-5E19-33BC-31C0-4A583B6D4138}"/>
                </a:ext>
              </a:extLst>
            </p:cNvPr>
            <p:cNvSpPr/>
            <p:nvPr/>
          </p:nvSpPr>
          <p:spPr>
            <a:xfrm>
              <a:off x="6956613" y="4082302"/>
              <a:ext cx="1954304" cy="394447"/>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B</a:t>
              </a:r>
              <a:endParaRPr lang="de-DE" dirty="0"/>
            </a:p>
          </p:txBody>
        </p:sp>
        <p:sp>
          <p:nvSpPr>
            <p:cNvPr id="22" name="Rechteck 21">
              <a:extLst>
                <a:ext uri="{FF2B5EF4-FFF2-40B4-BE49-F238E27FC236}">
                  <a16:creationId xmlns:a16="http://schemas.microsoft.com/office/drawing/2014/main" id="{C58EEFBE-DC9D-79C7-61FF-A168A1A03411}"/>
                </a:ext>
              </a:extLst>
            </p:cNvPr>
            <p:cNvSpPr/>
            <p:nvPr/>
          </p:nvSpPr>
          <p:spPr>
            <a:xfrm>
              <a:off x="6956613" y="4668370"/>
              <a:ext cx="1954304" cy="394447"/>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C</a:t>
              </a:r>
              <a:endParaRPr lang="de-DE" dirty="0"/>
            </a:p>
          </p:txBody>
        </p:sp>
      </p:grpSp>
      <p:grpSp>
        <p:nvGrpSpPr>
          <p:cNvPr id="34" name="Gruppieren 33">
            <a:extLst>
              <a:ext uri="{FF2B5EF4-FFF2-40B4-BE49-F238E27FC236}">
                <a16:creationId xmlns:a16="http://schemas.microsoft.com/office/drawing/2014/main" id="{347C00EF-E1C4-7AFD-B2BA-0EDA162B4C6F}"/>
              </a:ext>
            </a:extLst>
          </p:cNvPr>
          <p:cNvGrpSpPr/>
          <p:nvPr/>
        </p:nvGrpSpPr>
        <p:grpSpPr>
          <a:xfrm>
            <a:off x="9403976" y="3993775"/>
            <a:ext cx="1949824" cy="730624"/>
            <a:chOff x="9403976" y="3307977"/>
            <a:chExt cx="1949824" cy="730624"/>
          </a:xfrm>
        </p:grpSpPr>
        <p:sp>
          <p:nvSpPr>
            <p:cNvPr id="23" name="Rechteck 22">
              <a:extLst>
                <a:ext uri="{FF2B5EF4-FFF2-40B4-BE49-F238E27FC236}">
                  <a16:creationId xmlns:a16="http://schemas.microsoft.com/office/drawing/2014/main" id="{5C80F88B-CB2A-9C41-A307-F810D7B39A79}"/>
                </a:ext>
              </a:extLst>
            </p:cNvPr>
            <p:cNvSpPr/>
            <p:nvPr/>
          </p:nvSpPr>
          <p:spPr>
            <a:xfrm>
              <a:off x="9403976" y="3307977"/>
              <a:ext cx="1949824" cy="7306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Rechteck 24">
              <a:extLst>
                <a:ext uri="{FF2B5EF4-FFF2-40B4-BE49-F238E27FC236}">
                  <a16:creationId xmlns:a16="http://schemas.microsoft.com/office/drawing/2014/main" id="{C4742D42-927D-D2E5-A8F3-D6992ADB1CBE}"/>
                </a:ext>
              </a:extLst>
            </p:cNvPr>
            <p:cNvSpPr/>
            <p:nvPr/>
          </p:nvSpPr>
          <p:spPr>
            <a:xfrm>
              <a:off x="9534380" y="3359524"/>
              <a:ext cx="794831" cy="611841"/>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1</a:t>
              </a:r>
              <a:endParaRPr lang="de-DE" dirty="0"/>
            </a:p>
          </p:txBody>
        </p:sp>
        <p:sp>
          <p:nvSpPr>
            <p:cNvPr id="26" name="Rechteck 25">
              <a:extLst>
                <a:ext uri="{FF2B5EF4-FFF2-40B4-BE49-F238E27FC236}">
                  <a16:creationId xmlns:a16="http://schemas.microsoft.com/office/drawing/2014/main" id="{883883DD-F727-3098-517D-DECB5CFA1CED}"/>
                </a:ext>
              </a:extLst>
            </p:cNvPr>
            <p:cNvSpPr/>
            <p:nvPr/>
          </p:nvSpPr>
          <p:spPr>
            <a:xfrm>
              <a:off x="10416146" y="3359524"/>
              <a:ext cx="794831" cy="611841"/>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2</a:t>
              </a:r>
              <a:endParaRPr lang="de-DE" dirty="0"/>
            </a:p>
          </p:txBody>
        </p:sp>
      </p:grpSp>
      <p:grpSp>
        <p:nvGrpSpPr>
          <p:cNvPr id="35" name="Gruppieren 34">
            <a:extLst>
              <a:ext uri="{FF2B5EF4-FFF2-40B4-BE49-F238E27FC236}">
                <a16:creationId xmlns:a16="http://schemas.microsoft.com/office/drawing/2014/main" id="{37D67B96-C1DC-2CC7-2C43-CCF8ECF05459}"/>
              </a:ext>
            </a:extLst>
          </p:cNvPr>
          <p:cNvGrpSpPr/>
          <p:nvPr/>
        </p:nvGrpSpPr>
        <p:grpSpPr>
          <a:xfrm>
            <a:off x="9403976" y="5145739"/>
            <a:ext cx="1949824" cy="730624"/>
            <a:chOff x="9403976" y="4459941"/>
            <a:chExt cx="1949824" cy="730624"/>
          </a:xfrm>
        </p:grpSpPr>
        <p:sp>
          <p:nvSpPr>
            <p:cNvPr id="24" name="Rechteck 23">
              <a:extLst>
                <a:ext uri="{FF2B5EF4-FFF2-40B4-BE49-F238E27FC236}">
                  <a16:creationId xmlns:a16="http://schemas.microsoft.com/office/drawing/2014/main" id="{2E727E6F-9DFF-ECC2-5DC6-75166C035089}"/>
                </a:ext>
              </a:extLst>
            </p:cNvPr>
            <p:cNvSpPr/>
            <p:nvPr/>
          </p:nvSpPr>
          <p:spPr>
            <a:xfrm>
              <a:off x="9403976" y="4459941"/>
              <a:ext cx="1949824" cy="7306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Rechteck 26">
              <a:extLst>
                <a:ext uri="{FF2B5EF4-FFF2-40B4-BE49-F238E27FC236}">
                  <a16:creationId xmlns:a16="http://schemas.microsoft.com/office/drawing/2014/main" id="{54CB4F1B-F95D-7FFE-2BB9-7E0E5B484985}"/>
                </a:ext>
              </a:extLst>
            </p:cNvPr>
            <p:cNvSpPr/>
            <p:nvPr/>
          </p:nvSpPr>
          <p:spPr>
            <a:xfrm>
              <a:off x="9534380" y="4512609"/>
              <a:ext cx="794831" cy="611841"/>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X</a:t>
              </a:r>
              <a:endParaRPr lang="de-DE" dirty="0"/>
            </a:p>
          </p:txBody>
        </p:sp>
        <p:sp>
          <p:nvSpPr>
            <p:cNvPr id="28" name="Rechteck 27">
              <a:extLst>
                <a:ext uri="{FF2B5EF4-FFF2-40B4-BE49-F238E27FC236}">
                  <a16:creationId xmlns:a16="http://schemas.microsoft.com/office/drawing/2014/main" id="{484C0CAE-57E3-DD01-F0F1-7A0E2C601515}"/>
                </a:ext>
              </a:extLst>
            </p:cNvPr>
            <p:cNvSpPr/>
            <p:nvPr/>
          </p:nvSpPr>
          <p:spPr>
            <a:xfrm>
              <a:off x="10416146" y="4512609"/>
              <a:ext cx="794831" cy="611841"/>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Y</a:t>
              </a:r>
              <a:endParaRPr lang="de-DE" dirty="0"/>
            </a:p>
          </p:txBody>
        </p:sp>
      </p:grpSp>
      <p:pic>
        <p:nvPicPr>
          <p:cNvPr id="32" name="Grafik 31">
            <a:extLst>
              <a:ext uri="{FF2B5EF4-FFF2-40B4-BE49-F238E27FC236}">
                <a16:creationId xmlns:a16="http://schemas.microsoft.com/office/drawing/2014/main" id="{43A18EB7-8D0F-3F21-AECB-4F538A40A1DA}"/>
              </a:ext>
            </a:extLst>
          </p:cNvPr>
          <p:cNvPicPr>
            <a:picLocks noChangeAspect="1"/>
          </p:cNvPicPr>
          <p:nvPr/>
        </p:nvPicPr>
        <p:blipFill>
          <a:blip r:embed="rId5"/>
          <a:stretch>
            <a:fillRect/>
          </a:stretch>
        </p:blipFill>
        <p:spPr>
          <a:xfrm>
            <a:off x="838200" y="2847560"/>
            <a:ext cx="3458058" cy="2962688"/>
          </a:xfrm>
          <a:prstGeom prst="rect">
            <a:avLst/>
          </a:prstGeom>
        </p:spPr>
      </p:pic>
      <p:sp>
        <p:nvSpPr>
          <p:cNvPr id="36" name="Rechteck 35">
            <a:extLst>
              <a:ext uri="{FF2B5EF4-FFF2-40B4-BE49-F238E27FC236}">
                <a16:creationId xmlns:a16="http://schemas.microsoft.com/office/drawing/2014/main" id="{F631D783-ABF3-830D-84F7-05B19C3948BD}"/>
              </a:ext>
            </a:extLst>
          </p:cNvPr>
          <p:cNvSpPr/>
          <p:nvPr/>
        </p:nvSpPr>
        <p:spPr>
          <a:xfrm>
            <a:off x="6678706" y="3877233"/>
            <a:ext cx="2492188" cy="2124636"/>
          </a:xfrm>
          <a:prstGeom prst="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7" name="Rechteck 36">
            <a:extLst>
              <a:ext uri="{FF2B5EF4-FFF2-40B4-BE49-F238E27FC236}">
                <a16:creationId xmlns:a16="http://schemas.microsoft.com/office/drawing/2014/main" id="{0543D131-5ED8-A8BE-2CC6-4125391D0609}"/>
              </a:ext>
            </a:extLst>
          </p:cNvPr>
          <p:cNvSpPr/>
          <p:nvPr/>
        </p:nvSpPr>
        <p:spPr>
          <a:xfrm>
            <a:off x="9278474" y="3904128"/>
            <a:ext cx="2169455" cy="890867"/>
          </a:xfrm>
          <a:prstGeom prst="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8" name="Rechteck 37">
            <a:extLst>
              <a:ext uri="{FF2B5EF4-FFF2-40B4-BE49-F238E27FC236}">
                <a16:creationId xmlns:a16="http://schemas.microsoft.com/office/drawing/2014/main" id="{98004468-80A7-E9A3-5515-FEACF905AF35}"/>
              </a:ext>
            </a:extLst>
          </p:cNvPr>
          <p:cNvSpPr/>
          <p:nvPr/>
        </p:nvSpPr>
        <p:spPr>
          <a:xfrm>
            <a:off x="9278474" y="5065617"/>
            <a:ext cx="2169455" cy="890867"/>
          </a:xfrm>
          <a:prstGeom prst="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0" name="Rechteck 39">
            <a:extLst>
              <a:ext uri="{FF2B5EF4-FFF2-40B4-BE49-F238E27FC236}">
                <a16:creationId xmlns:a16="http://schemas.microsoft.com/office/drawing/2014/main" id="{1B296C9C-DC74-7DFF-E4CB-46429053023E}"/>
              </a:ext>
            </a:extLst>
          </p:cNvPr>
          <p:cNvSpPr/>
          <p:nvPr/>
        </p:nvSpPr>
        <p:spPr>
          <a:xfrm>
            <a:off x="873195" y="4980093"/>
            <a:ext cx="1484523" cy="288911"/>
          </a:xfrm>
          <a:prstGeom prst="rect">
            <a:avLst/>
          </a:prstGeom>
          <a:noFill/>
          <a:ln w="28575"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1" name="Textfeld 40">
            <a:extLst>
              <a:ext uri="{FF2B5EF4-FFF2-40B4-BE49-F238E27FC236}">
                <a16:creationId xmlns:a16="http://schemas.microsoft.com/office/drawing/2014/main" id="{CA7864DD-8893-7250-CE67-EB8E39F583E1}"/>
              </a:ext>
            </a:extLst>
          </p:cNvPr>
          <p:cNvSpPr txBox="1"/>
          <p:nvPr/>
        </p:nvSpPr>
        <p:spPr>
          <a:xfrm>
            <a:off x="3186956" y="1550004"/>
            <a:ext cx="1609161" cy="646331"/>
          </a:xfrm>
          <a:prstGeom prst="rect">
            <a:avLst/>
          </a:prstGeom>
          <a:noFill/>
        </p:spPr>
        <p:txBody>
          <a:bodyPr wrap="square" rtlCol="0">
            <a:spAutoFit/>
          </a:bodyPr>
          <a:lstStyle/>
          <a:p>
            <a:r>
              <a:rPr lang="de-DE"/>
              <a:t>Alle Shapes auswählen</a:t>
            </a:r>
            <a:endParaRPr lang="de-DE" dirty="0"/>
          </a:p>
        </p:txBody>
      </p:sp>
      <p:sp>
        <p:nvSpPr>
          <p:cNvPr id="42" name="Textfeld 41">
            <a:extLst>
              <a:ext uri="{FF2B5EF4-FFF2-40B4-BE49-F238E27FC236}">
                <a16:creationId xmlns:a16="http://schemas.microsoft.com/office/drawing/2014/main" id="{49C16D75-FA95-4255-9210-59780EE62654}"/>
              </a:ext>
            </a:extLst>
          </p:cNvPr>
          <p:cNvSpPr txBox="1"/>
          <p:nvPr/>
        </p:nvSpPr>
        <p:spPr>
          <a:xfrm>
            <a:off x="4448660" y="3858867"/>
            <a:ext cx="2142554" cy="646331"/>
          </a:xfrm>
          <a:prstGeom prst="rect">
            <a:avLst/>
          </a:prstGeom>
          <a:noFill/>
        </p:spPr>
        <p:txBody>
          <a:bodyPr wrap="square" rtlCol="0">
            <a:spAutoFit/>
          </a:bodyPr>
          <a:lstStyle/>
          <a:p>
            <a:r>
              <a:rPr lang="de-DE"/>
              <a:t>Es werden 3 Gruppen erstellt</a:t>
            </a:r>
            <a:endParaRPr lang="de-DE" dirty="0"/>
          </a:p>
        </p:txBody>
      </p:sp>
    </p:spTree>
    <p:extLst>
      <p:ext uri="{BB962C8B-B14F-4D97-AF65-F5344CB8AC3E}">
        <p14:creationId xmlns:p14="http://schemas.microsoft.com/office/powerpoint/2010/main" val="20857008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05255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26" imgH="526" progId="TCLayout.ActiveDocument.1">
                  <p:embed/>
                </p:oleObj>
              </mc:Choice>
              <mc:Fallback>
                <p:oleObj name="think-cell Folie" r:id="rId10" imgW="526" imgH="52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4" name="Titel 3"/>
          <p:cNvSpPr>
            <a:spLocks noGrp="1"/>
          </p:cNvSpPr>
          <p:nvPr>
            <p:ph type="title"/>
          </p:nvPr>
        </p:nvSpPr>
        <p:spPr/>
        <p:txBody>
          <a:bodyPr/>
          <a:lstStyle/>
          <a:p>
            <a:r>
              <a:rPr lang="de-DE" dirty="0"/>
              <a:t>Verbesserte und neue Smart-Shapes</a:t>
            </a:r>
          </a:p>
        </p:txBody>
      </p:sp>
      <p:grpSp>
        <p:nvGrpSpPr>
          <p:cNvPr id="9" name="Gruppieren 8"/>
          <p:cNvGrpSpPr/>
          <p:nvPr>
            <p:custDataLst>
              <p:tags r:id="rId3"/>
            </p:custDataLst>
          </p:nvPr>
        </p:nvGrpSpPr>
        <p:grpSpPr>
          <a:xfrm>
            <a:off x="896933" y="4093367"/>
            <a:ext cx="3402724" cy="205479"/>
            <a:chOff x="838200" y="1825625"/>
            <a:chExt cx="10515600" cy="635000"/>
          </a:xfrm>
        </p:grpSpPr>
        <p:sp>
          <p:nvSpPr>
            <p:cNvPr id="6" name="Richtungspfeil 5"/>
            <p:cNvSpPr/>
            <p:nvPr/>
          </p:nvSpPr>
          <p:spPr>
            <a:xfrm>
              <a:off x="838200" y="1825625"/>
              <a:ext cx="3577200" cy="635000"/>
            </a:xfrm>
            <a:prstGeom prst="homePlate">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Chevron 6"/>
            <p:cNvSpPr/>
            <p:nvPr/>
          </p:nvSpPr>
          <p:spPr>
            <a:xfrm>
              <a:off x="4307400" y="1825625"/>
              <a:ext cx="3577199"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8" name="Chevron 7"/>
            <p:cNvSpPr/>
            <p:nvPr/>
          </p:nvSpPr>
          <p:spPr>
            <a:xfrm>
              <a:off x="7776600" y="1825625"/>
              <a:ext cx="3577200"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grpSp>
        <p:nvGrpSpPr>
          <p:cNvPr id="13" name="Gruppieren 12"/>
          <p:cNvGrpSpPr/>
          <p:nvPr>
            <p:custDataLst>
              <p:tags r:id="rId4"/>
            </p:custDataLst>
          </p:nvPr>
        </p:nvGrpSpPr>
        <p:grpSpPr>
          <a:xfrm>
            <a:off x="896933" y="4322144"/>
            <a:ext cx="3344478" cy="577983"/>
            <a:chOff x="838200" y="2532625"/>
            <a:chExt cx="10335600" cy="1786169"/>
          </a:xfrm>
        </p:grpSpPr>
        <p:sp>
          <p:nvSpPr>
            <p:cNvPr id="10" name="Rechteck 9"/>
            <p:cNvSpPr/>
            <p:nvPr/>
          </p:nvSpPr>
          <p:spPr>
            <a:xfrm>
              <a:off x="8382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p:nvPr/>
          </p:nvSpPr>
          <p:spPr>
            <a:xfrm>
              <a:off x="4307400" y="2532625"/>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p:nvPr/>
          </p:nvSpPr>
          <p:spPr>
            <a:xfrm>
              <a:off x="77766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7" name="Gruppieren 16"/>
          <p:cNvGrpSpPr/>
          <p:nvPr>
            <p:custDataLst>
              <p:tags r:id="rId5"/>
            </p:custDataLst>
          </p:nvPr>
        </p:nvGrpSpPr>
        <p:grpSpPr>
          <a:xfrm>
            <a:off x="896933" y="4923426"/>
            <a:ext cx="3344478" cy="577983"/>
            <a:chOff x="838200" y="4390794"/>
            <a:chExt cx="10335600" cy="1786169"/>
          </a:xfrm>
        </p:grpSpPr>
        <p:sp>
          <p:nvSpPr>
            <p:cNvPr id="14" name="Rechteck 13"/>
            <p:cNvSpPr/>
            <p:nvPr/>
          </p:nvSpPr>
          <p:spPr>
            <a:xfrm>
              <a:off x="8382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p:cNvSpPr/>
            <p:nvPr/>
          </p:nvSpPr>
          <p:spPr>
            <a:xfrm>
              <a:off x="4307400" y="4390794"/>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Rechteck 15"/>
            <p:cNvSpPr/>
            <p:nvPr/>
          </p:nvSpPr>
          <p:spPr>
            <a:xfrm>
              <a:off x="77766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12"/>
          <a:stretch>
            <a:fillRect/>
          </a:stretch>
        </p:blipFill>
        <p:spPr>
          <a:xfrm>
            <a:off x="570813" y="2289220"/>
            <a:ext cx="2305168" cy="1301817"/>
          </a:xfrm>
          <a:prstGeom prst="rect">
            <a:avLst/>
          </a:prstGeom>
        </p:spPr>
      </p:pic>
      <p:sp>
        <p:nvSpPr>
          <p:cNvPr id="21" name="Rechteck 20"/>
          <p:cNvSpPr>
            <a:spLocks noChangeAspect="1"/>
          </p:cNvSpPr>
          <p:nvPr>
            <p:custDataLst>
              <p:tags r:id="rId6"/>
            </p:custDataLst>
          </p:nvPr>
        </p:nvSpPr>
        <p:spPr>
          <a:xfrm>
            <a:off x="9869984" y="4353158"/>
            <a:ext cx="203200" cy="203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tx1"/>
                </a:solidFill>
                <a:latin typeface="Wingdings" panose="05000000000000000000" pitchFamily="2" charset="2"/>
              </a:rPr>
              <a:t>ü</a:t>
            </a:r>
          </a:p>
        </p:txBody>
      </p:sp>
      <p:sp>
        <p:nvSpPr>
          <p:cNvPr id="22" name="Textfeld 21">
            <a:extLst>
              <a:ext uri="{FF2B5EF4-FFF2-40B4-BE49-F238E27FC236}">
                <a16:creationId xmlns:a16="http://schemas.microsoft.com/office/drawing/2014/main" id="{5B1A18FF-FDBD-40AB-9754-9BBA6A568746}"/>
              </a:ext>
            </a:extLst>
          </p:cNvPr>
          <p:cNvSpPr txBox="1"/>
          <p:nvPr/>
        </p:nvSpPr>
        <p:spPr>
          <a:xfrm>
            <a:off x="6290036" y="4957008"/>
            <a:ext cx="4606193" cy="369332"/>
          </a:xfrm>
          <a:prstGeom prst="rect">
            <a:avLst/>
          </a:prstGeom>
          <a:noFill/>
        </p:spPr>
        <p:txBody>
          <a:bodyPr wrap="square" rtlCol="0">
            <a:spAutoFit/>
          </a:bodyPr>
          <a:lstStyle/>
          <a:p>
            <a:r>
              <a:rPr lang="de-DE" dirty="0"/>
              <a:t>Checkbox als Smart-Shape</a:t>
            </a:r>
          </a:p>
        </p:txBody>
      </p:sp>
      <p:sp>
        <p:nvSpPr>
          <p:cNvPr id="23" name="Textfeld 22">
            <a:extLst>
              <a:ext uri="{FF2B5EF4-FFF2-40B4-BE49-F238E27FC236}">
                <a16:creationId xmlns:a16="http://schemas.microsoft.com/office/drawing/2014/main" id="{5B1A18FF-FDBD-40AB-9754-9BBA6A568746}"/>
              </a:ext>
            </a:extLst>
          </p:cNvPr>
          <p:cNvSpPr txBox="1"/>
          <p:nvPr/>
        </p:nvSpPr>
        <p:spPr>
          <a:xfrm>
            <a:off x="5976742" y="2226775"/>
            <a:ext cx="3017379" cy="646331"/>
          </a:xfrm>
          <a:prstGeom prst="rect">
            <a:avLst/>
          </a:prstGeom>
          <a:noFill/>
        </p:spPr>
        <p:txBody>
          <a:bodyPr wrap="square" rtlCol="0">
            <a:spAutoFit/>
          </a:bodyPr>
          <a:lstStyle/>
          <a:p>
            <a:r>
              <a:rPr lang="de-DE" dirty="0"/>
              <a:t>Neue horizontale Ampel und Ampel-Punkt</a:t>
            </a:r>
          </a:p>
        </p:txBody>
      </p:sp>
      <p:sp>
        <p:nvSpPr>
          <p:cNvPr id="24" name="Textfeld 23">
            <a:extLst>
              <a:ext uri="{FF2B5EF4-FFF2-40B4-BE49-F238E27FC236}">
                <a16:creationId xmlns:a16="http://schemas.microsoft.com/office/drawing/2014/main" id="{5B1A18FF-FDBD-40AB-9754-9BBA6A568746}"/>
              </a:ext>
            </a:extLst>
          </p:cNvPr>
          <p:cNvSpPr txBox="1"/>
          <p:nvPr/>
        </p:nvSpPr>
        <p:spPr>
          <a:xfrm>
            <a:off x="2970995" y="2526981"/>
            <a:ext cx="2131778" cy="923330"/>
          </a:xfrm>
          <a:prstGeom prst="rect">
            <a:avLst/>
          </a:prstGeom>
          <a:noFill/>
        </p:spPr>
        <p:txBody>
          <a:bodyPr wrap="square" rtlCol="0">
            <a:spAutoFit/>
          </a:bodyPr>
          <a:lstStyle/>
          <a:p>
            <a:r>
              <a:rPr lang="de-DE" dirty="0"/>
              <a:t>Unterstützung Zeilen unterhalb von Prozessen</a:t>
            </a:r>
          </a:p>
        </p:txBody>
      </p:sp>
      <p:grpSp>
        <p:nvGrpSpPr>
          <p:cNvPr id="28" name="Gruppieren 27"/>
          <p:cNvGrpSpPr>
            <a:grpSpLocks noChangeAspect="1"/>
          </p:cNvGrpSpPr>
          <p:nvPr>
            <p:custDataLst>
              <p:tags r:id="rId7"/>
            </p:custDataLst>
          </p:nvPr>
        </p:nvGrpSpPr>
        <p:grpSpPr>
          <a:xfrm>
            <a:off x="9336584" y="2283911"/>
            <a:ext cx="1016000" cy="381000"/>
            <a:chOff x="1270000" y="1270000"/>
            <a:chExt cx="1016000" cy="381000"/>
          </a:xfrm>
        </p:grpSpPr>
        <p:sp>
          <p:nvSpPr>
            <p:cNvPr id="3" name="Rechteck 2"/>
            <p:cNvSpPr/>
            <p:nvPr/>
          </p:nvSpPr>
          <p:spPr>
            <a:xfrm>
              <a:off x="1270000" y="1270000"/>
              <a:ext cx="1016000" cy="381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Ellipse 24"/>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p:cNvSpPr/>
            <p:nvPr/>
          </p:nvSpPr>
          <p:spPr>
            <a:xfrm>
              <a:off x="16510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p:cNvSpPr/>
            <p:nvPr/>
          </p:nvSpPr>
          <p:spPr>
            <a:xfrm>
              <a:off x="19685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0" name="Ellipse 29"/>
          <p:cNvSpPr>
            <a:spLocks noChangeAspect="1"/>
          </p:cNvSpPr>
          <p:nvPr>
            <p:custDataLst>
              <p:tags r:id="rId8"/>
            </p:custDataLst>
          </p:nvPr>
        </p:nvSpPr>
        <p:spPr>
          <a:xfrm>
            <a:off x="10278873" y="4353158"/>
            <a:ext cx="203200" cy="2032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bg1"/>
                </a:solidFill>
                <a:latin typeface="Wingdings" panose="05000000000000000000" pitchFamily="2" charset="2"/>
                <a:sym typeface="Wingdings" panose="05000000000000000000" pitchFamily="2" charset="2"/>
              </a:rPr>
              <a:t>l</a:t>
            </a:r>
            <a:endParaRPr lang="de-DE" sz="1600" dirty="0">
              <a:solidFill>
                <a:schemeClr val="bg1"/>
              </a:solidFill>
              <a:latin typeface="Wingdings" panose="05000000000000000000" pitchFamily="2" charset="2"/>
            </a:endParaRPr>
          </a:p>
        </p:txBody>
      </p:sp>
      <p:pic>
        <p:nvPicPr>
          <p:cNvPr id="18" name="Grafik 17">
            <a:extLst>
              <a:ext uri="{FF2B5EF4-FFF2-40B4-BE49-F238E27FC236}">
                <a16:creationId xmlns:a16="http://schemas.microsoft.com/office/drawing/2014/main" id="{62698751-F0B6-4D72-BF87-EB262E9C0112}"/>
              </a:ext>
            </a:extLst>
          </p:cNvPr>
          <p:cNvPicPr>
            <a:picLocks noChangeAspect="1"/>
          </p:cNvPicPr>
          <p:nvPr/>
        </p:nvPicPr>
        <p:blipFill>
          <a:blip r:embed="rId13"/>
          <a:stretch>
            <a:fillRect/>
          </a:stretch>
        </p:blipFill>
        <p:spPr>
          <a:xfrm>
            <a:off x="6290035" y="3982786"/>
            <a:ext cx="3267025" cy="917342"/>
          </a:xfrm>
          <a:prstGeom prst="rect">
            <a:avLst/>
          </a:prstGeom>
        </p:spPr>
      </p:pic>
      <p:pic>
        <p:nvPicPr>
          <p:cNvPr id="32" name="Grafik 31"/>
          <p:cNvPicPr>
            <a:picLocks noChangeAspect="1"/>
          </p:cNvPicPr>
          <p:nvPr/>
        </p:nvPicPr>
        <p:blipFill>
          <a:blip r:embed="rId14"/>
          <a:stretch>
            <a:fillRect/>
          </a:stretch>
        </p:blipFill>
        <p:spPr>
          <a:xfrm>
            <a:off x="10695047" y="2034777"/>
            <a:ext cx="896350" cy="967284"/>
          </a:xfrm>
          <a:prstGeom prst="rect">
            <a:avLst/>
          </a:prstGeom>
        </p:spPr>
      </p:pic>
      <p:pic>
        <p:nvPicPr>
          <p:cNvPr id="33" name="Grafik 32"/>
          <p:cNvPicPr>
            <a:picLocks noChangeAspect="1"/>
          </p:cNvPicPr>
          <p:nvPr/>
        </p:nvPicPr>
        <p:blipFill>
          <a:blip r:embed="rId15"/>
          <a:stretch>
            <a:fillRect/>
          </a:stretch>
        </p:blipFill>
        <p:spPr>
          <a:xfrm>
            <a:off x="826789" y="3827552"/>
            <a:ext cx="3567529" cy="1989168"/>
          </a:xfrm>
          <a:prstGeom prst="rect">
            <a:avLst/>
          </a:prstGeom>
        </p:spPr>
      </p:pic>
    </p:spTree>
    <p:extLst>
      <p:ext uri="{BB962C8B-B14F-4D97-AF65-F5344CB8AC3E}">
        <p14:creationId xmlns:p14="http://schemas.microsoft.com/office/powerpoint/2010/main" val="19483543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1"/>
            </p:custDataLst>
            <p:extLst>
              <p:ext uri="{D42A27DB-BD31-4B8C-83A1-F6EECF244321}">
                <p14:modId xmlns:p14="http://schemas.microsoft.com/office/powerpoint/2010/main" val="4293223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26" imgH="526" progId="TCLayout.ActiveDocument.1">
                  <p:embed/>
                </p:oleObj>
              </mc:Choice>
              <mc:Fallback>
                <p:oleObj name="think-cell Folie" r:id="rId6" imgW="526" imgH="5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indungsflächen bei Prozessen</a:t>
            </a:r>
          </a:p>
        </p:txBody>
      </p:sp>
      <p:grpSp>
        <p:nvGrpSpPr>
          <p:cNvPr id="6" name="Gruppieren 5"/>
          <p:cNvGrpSpPr/>
          <p:nvPr/>
        </p:nvGrpSpPr>
        <p:grpSpPr>
          <a:xfrm>
            <a:off x="5469321" y="3933079"/>
            <a:ext cx="2619703" cy="1376856"/>
            <a:chOff x="6484883" y="2349062"/>
            <a:chExt cx="3547241" cy="1864349"/>
          </a:xfrm>
        </p:grpSpPr>
        <p:sp>
          <p:nvSpPr>
            <p:cNvPr id="3" name="Richtungspfeil 2"/>
            <p:cNvSpPr/>
            <p:nvPr/>
          </p:nvSpPr>
          <p:spPr>
            <a:xfrm>
              <a:off x="6826469"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p:cNvSpPr/>
            <p:nvPr/>
          </p:nvSpPr>
          <p:spPr>
            <a:xfrm>
              <a:off x="6484883"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p:cNvSpPr/>
            <p:nvPr>
              <p:custDataLst>
                <p:tags r:id="rId4"/>
              </p:custDataLst>
            </p:nvPr>
          </p:nvSpPr>
          <p:spPr>
            <a:xfrm>
              <a:off x="6484883"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390431 w 1390431"/>
                <a:gd name="connsiteY0" fmla="*/ 2830348 h 2830348"/>
                <a:gd name="connsiteX1" fmla="*/ 127000 w 1390431"/>
                <a:gd name="connsiteY1" fmla="*/ 0 h 2830348"/>
                <a:gd name="connsiteX2" fmla="*/ 127000 w 1390431"/>
                <a:gd name="connsiteY2" fmla="*/ 127000 h 2830348"/>
                <a:gd name="connsiteX3" fmla="*/ 0 w 1390431"/>
                <a:gd name="connsiteY3" fmla="*/ 127000 h 2830348"/>
                <a:gd name="connsiteX4" fmla="*/ 0 w 1390431"/>
                <a:gd name="connsiteY4" fmla="*/ 0 h 2830348"/>
                <a:gd name="connsiteX0" fmla="*/ 1390431 w 2793562"/>
                <a:gd name="connsiteY0" fmla="*/ 2830348 h 2830348"/>
                <a:gd name="connsiteX1" fmla="*/ 2793562 w 2793562"/>
                <a:gd name="connsiteY1" fmla="*/ 2830348 h 2830348"/>
                <a:gd name="connsiteX2" fmla="*/ 127000 w 2793562"/>
                <a:gd name="connsiteY2" fmla="*/ 127000 h 2830348"/>
                <a:gd name="connsiteX3" fmla="*/ 0 w 2793562"/>
                <a:gd name="connsiteY3" fmla="*/ 127000 h 2830348"/>
                <a:gd name="connsiteX4" fmla="*/ 0 w 2793562"/>
                <a:gd name="connsiteY4" fmla="*/ 0 h 2830348"/>
                <a:gd name="connsiteX0" fmla="*/ 1390431 w 4596085"/>
                <a:gd name="connsiteY0" fmla="*/ 2830348 h 3329590"/>
                <a:gd name="connsiteX1" fmla="*/ 2793562 w 4596085"/>
                <a:gd name="connsiteY1" fmla="*/ 2830348 h 3329590"/>
                <a:gd name="connsiteX2" fmla="*/ 4596085 w 4596085"/>
                <a:gd name="connsiteY2" fmla="*/ 3329590 h 3329590"/>
                <a:gd name="connsiteX3" fmla="*/ 0 w 4596085"/>
                <a:gd name="connsiteY3" fmla="*/ 127000 h 3329590"/>
                <a:gd name="connsiteX4" fmla="*/ 0 w 4596085"/>
                <a:gd name="connsiteY4" fmla="*/ 0 h 3329590"/>
                <a:gd name="connsiteX0" fmla="*/ 1390431 w 4596085"/>
                <a:gd name="connsiteY0" fmla="*/ 2830348 h 3329590"/>
                <a:gd name="connsiteX1" fmla="*/ 2793562 w 4596085"/>
                <a:gd name="connsiteY1" fmla="*/ 2830348 h 3329590"/>
                <a:gd name="connsiteX2" fmla="*/ 4596085 w 4596085"/>
                <a:gd name="connsiteY2" fmla="*/ 3329590 h 3329590"/>
                <a:gd name="connsiteX3" fmla="*/ 1048844 w 4596085"/>
                <a:gd name="connsiteY3" fmla="*/ 3329590 h 3329590"/>
                <a:gd name="connsiteX4" fmla="*/ 0 w 4596085"/>
                <a:gd name="connsiteY4" fmla="*/ 0 h 3329590"/>
                <a:gd name="connsiteX0" fmla="*/ 341587 w 3547241"/>
                <a:gd name="connsiteY0" fmla="*/ 0 h 499242"/>
                <a:gd name="connsiteX1" fmla="*/ 1744718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7" y="0"/>
                  </a:moveTo>
                  <a:lnTo>
                    <a:pt x="1744718"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 name="Gruppieren 4"/>
          <p:cNvGrpSpPr/>
          <p:nvPr/>
        </p:nvGrpSpPr>
        <p:grpSpPr>
          <a:xfrm>
            <a:off x="1534511" y="3933079"/>
            <a:ext cx="2619703" cy="1376856"/>
            <a:chOff x="838200" y="2349062"/>
            <a:chExt cx="3547241" cy="1864349"/>
          </a:xfrm>
        </p:grpSpPr>
        <p:sp>
          <p:nvSpPr>
            <p:cNvPr id="9" name="Richtungspfeil 8"/>
            <p:cNvSpPr/>
            <p:nvPr/>
          </p:nvSpPr>
          <p:spPr>
            <a:xfrm>
              <a:off x="1179786"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p:nvPr/>
          </p:nvSpPr>
          <p:spPr>
            <a:xfrm>
              <a:off x="838200"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p:nvPr>
              <p:custDataLst>
                <p:tags r:id="rId3"/>
              </p:custDataLst>
            </p:nvPr>
          </p:nvSpPr>
          <p:spPr>
            <a:xfrm>
              <a:off x="838200"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167086 w 1167086"/>
                <a:gd name="connsiteY0" fmla="*/ 2830348 h 2830348"/>
                <a:gd name="connsiteX1" fmla="*/ 127000 w 1167086"/>
                <a:gd name="connsiteY1" fmla="*/ 0 h 2830348"/>
                <a:gd name="connsiteX2" fmla="*/ 127000 w 1167086"/>
                <a:gd name="connsiteY2" fmla="*/ 127000 h 2830348"/>
                <a:gd name="connsiteX3" fmla="*/ 0 w 1167086"/>
                <a:gd name="connsiteY3" fmla="*/ 127000 h 2830348"/>
                <a:gd name="connsiteX4" fmla="*/ 0 w 1167086"/>
                <a:gd name="connsiteY4" fmla="*/ 0 h 2830348"/>
                <a:gd name="connsiteX0" fmla="*/ 1167086 w 2817210"/>
                <a:gd name="connsiteY0" fmla="*/ 2830348 h 2830348"/>
                <a:gd name="connsiteX1" fmla="*/ 2817210 w 2817210"/>
                <a:gd name="connsiteY1" fmla="*/ 2830348 h 2830348"/>
                <a:gd name="connsiteX2" fmla="*/ 127000 w 2817210"/>
                <a:gd name="connsiteY2" fmla="*/ 127000 h 2830348"/>
                <a:gd name="connsiteX3" fmla="*/ 0 w 2817210"/>
                <a:gd name="connsiteY3" fmla="*/ 127000 h 2830348"/>
                <a:gd name="connsiteX4" fmla="*/ 0 w 2817210"/>
                <a:gd name="connsiteY4" fmla="*/ 0 h 2830348"/>
                <a:gd name="connsiteX0" fmla="*/ 1167086 w 4372741"/>
                <a:gd name="connsiteY0" fmla="*/ 2830348 h 3329590"/>
                <a:gd name="connsiteX1" fmla="*/ 2817210 w 4372741"/>
                <a:gd name="connsiteY1" fmla="*/ 2830348 h 3329590"/>
                <a:gd name="connsiteX2" fmla="*/ 4372741 w 4372741"/>
                <a:gd name="connsiteY2" fmla="*/ 3329590 h 3329590"/>
                <a:gd name="connsiteX3" fmla="*/ 0 w 4372741"/>
                <a:gd name="connsiteY3" fmla="*/ 127000 h 3329590"/>
                <a:gd name="connsiteX4" fmla="*/ 0 w 4372741"/>
                <a:gd name="connsiteY4" fmla="*/ 0 h 3329590"/>
                <a:gd name="connsiteX0" fmla="*/ 1167086 w 4372741"/>
                <a:gd name="connsiteY0" fmla="*/ 2830348 h 3329590"/>
                <a:gd name="connsiteX1" fmla="*/ 2817210 w 4372741"/>
                <a:gd name="connsiteY1" fmla="*/ 2830348 h 3329590"/>
                <a:gd name="connsiteX2" fmla="*/ 4372741 w 4372741"/>
                <a:gd name="connsiteY2" fmla="*/ 3329590 h 3329590"/>
                <a:gd name="connsiteX3" fmla="*/ 825500 w 4372741"/>
                <a:gd name="connsiteY3" fmla="*/ 3329590 h 3329590"/>
                <a:gd name="connsiteX4" fmla="*/ 0 w 4372741"/>
                <a:gd name="connsiteY4" fmla="*/ 0 h 3329590"/>
                <a:gd name="connsiteX0" fmla="*/ 341586 w 3547241"/>
                <a:gd name="connsiteY0" fmla="*/ 0 h 499242"/>
                <a:gd name="connsiteX1" fmla="*/ 1991710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6" y="0"/>
                  </a:moveTo>
                  <a:lnTo>
                    <a:pt x="1991710"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8" name="Grafik 17">
            <a:extLst>
              <a:ext uri="{FF2B5EF4-FFF2-40B4-BE49-F238E27FC236}">
                <a16:creationId xmlns:a16="http://schemas.microsoft.com/office/drawing/2014/main" id="{8438BDD4-1E1F-4845-8178-372E7995966A}"/>
              </a:ext>
            </a:extLst>
          </p:cNvPr>
          <p:cNvPicPr>
            <a:picLocks noChangeAspect="1"/>
          </p:cNvPicPr>
          <p:nvPr/>
        </p:nvPicPr>
        <p:blipFill>
          <a:blip r:embed="rId8"/>
          <a:stretch>
            <a:fillRect/>
          </a:stretch>
        </p:blipFill>
        <p:spPr>
          <a:xfrm>
            <a:off x="1434226" y="2073217"/>
            <a:ext cx="2282092" cy="1216523"/>
          </a:xfrm>
          <a:prstGeom prst="rect">
            <a:avLst/>
          </a:prstGeom>
        </p:spPr>
      </p:pic>
      <p:sp>
        <p:nvSpPr>
          <p:cNvPr id="12" name="Textfeld 11">
            <a:extLst>
              <a:ext uri="{FF2B5EF4-FFF2-40B4-BE49-F238E27FC236}">
                <a16:creationId xmlns:a16="http://schemas.microsoft.com/office/drawing/2014/main" id="{5B1A18FF-FDBD-40AB-9754-9BBA6A568746}"/>
              </a:ext>
            </a:extLst>
          </p:cNvPr>
          <p:cNvSpPr txBox="1"/>
          <p:nvPr/>
        </p:nvSpPr>
        <p:spPr>
          <a:xfrm>
            <a:off x="1534511" y="3427963"/>
            <a:ext cx="2181807" cy="369332"/>
          </a:xfrm>
          <a:prstGeom prst="rect">
            <a:avLst/>
          </a:prstGeom>
          <a:noFill/>
        </p:spPr>
        <p:txBody>
          <a:bodyPr wrap="square" rtlCol="0">
            <a:spAutoFit/>
          </a:bodyPr>
          <a:lstStyle/>
          <a:p>
            <a:r>
              <a:rPr lang="de-DE" dirty="0"/>
              <a:t>Altes Verhalten</a:t>
            </a:r>
          </a:p>
        </p:txBody>
      </p:sp>
      <p:sp>
        <p:nvSpPr>
          <p:cNvPr id="14" name="Textfeld 13">
            <a:extLst>
              <a:ext uri="{FF2B5EF4-FFF2-40B4-BE49-F238E27FC236}">
                <a16:creationId xmlns:a16="http://schemas.microsoft.com/office/drawing/2014/main" id="{5B1A18FF-FDBD-40AB-9754-9BBA6A568746}"/>
              </a:ext>
            </a:extLst>
          </p:cNvPr>
          <p:cNvSpPr txBox="1"/>
          <p:nvPr/>
        </p:nvSpPr>
        <p:spPr>
          <a:xfrm>
            <a:off x="5469321" y="3427963"/>
            <a:ext cx="2181807" cy="369332"/>
          </a:xfrm>
          <a:prstGeom prst="rect">
            <a:avLst/>
          </a:prstGeom>
          <a:noFill/>
        </p:spPr>
        <p:txBody>
          <a:bodyPr wrap="square" rtlCol="0">
            <a:spAutoFit/>
          </a:bodyPr>
          <a:lstStyle/>
          <a:p>
            <a:r>
              <a:rPr lang="de-DE" dirty="0"/>
              <a:t>Neues Verhalten</a:t>
            </a:r>
          </a:p>
        </p:txBody>
      </p:sp>
      <p:sp>
        <p:nvSpPr>
          <p:cNvPr id="16" name="Ellipse 15"/>
          <p:cNvSpPr/>
          <p:nvPr/>
        </p:nvSpPr>
        <p:spPr>
          <a:xfrm>
            <a:off x="262541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Ellipse 16"/>
          <p:cNvSpPr/>
          <p:nvPr/>
        </p:nvSpPr>
        <p:spPr>
          <a:xfrm>
            <a:off x="656022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9578117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393623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olien-Funktionen</a:t>
            </a:r>
          </a:p>
        </p:txBody>
      </p:sp>
      <p:pic>
        <p:nvPicPr>
          <p:cNvPr id="5" name="Grafik 4">
            <a:extLst>
              <a:ext uri="{FF2B5EF4-FFF2-40B4-BE49-F238E27FC236}">
                <a16:creationId xmlns:a16="http://schemas.microsoft.com/office/drawing/2014/main" id="{08D79BFB-BE80-48DA-A42E-5F45030EA038}"/>
              </a:ext>
            </a:extLst>
          </p:cNvPr>
          <p:cNvPicPr>
            <a:picLocks noChangeAspect="1"/>
          </p:cNvPicPr>
          <p:nvPr/>
        </p:nvPicPr>
        <p:blipFill>
          <a:blip r:embed="rId6"/>
          <a:stretch>
            <a:fillRect/>
          </a:stretch>
        </p:blipFill>
        <p:spPr>
          <a:xfrm>
            <a:off x="357704" y="1330774"/>
            <a:ext cx="1882014" cy="5456576"/>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2806291" y="5864020"/>
            <a:ext cx="6145939" cy="923330"/>
          </a:xfrm>
          <a:prstGeom prst="rect">
            <a:avLst/>
          </a:prstGeom>
          <a:noFill/>
        </p:spPr>
        <p:txBody>
          <a:bodyPr wrap="square" rtlCol="0">
            <a:spAutoFit/>
          </a:bodyPr>
          <a:lstStyle/>
          <a:p>
            <a:r>
              <a:rPr lang="de-DE" dirty="0"/>
              <a:t>Präsentation als eigenes Fenster oder Vollbild starten und automatisch </a:t>
            </a:r>
            <a:r>
              <a:rPr lang="de-DE" dirty="0" err="1"/>
              <a:t>Laserpointer</a:t>
            </a:r>
            <a:r>
              <a:rPr lang="de-DE" dirty="0"/>
              <a:t> aktivieren</a:t>
            </a:r>
          </a:p>
          <a:p>
            <a:r>
              <a:rPr lang="de-DE" i="1" dirty="0"/>
              <a:t>(Bspw. nützlich für Videokonferenzen)</a:t>
            </a:r>
          </a:p>
        </p:txBody>
      </p:sp>
      <p:sp>
        <p:nvSpPr>
          <p:cNvPr id="6" name="Textfeld 5">
            <a:extLst>
              <a:ext uri="{FF2B5EF4-FFF2-40B4-BE49-F238E27FC236}">
                <a16:creationId xmlns:a16="http://schemas.microsoft.com/office/drawing/2014/main" id="{5B1A18FF-FDBD-40AB-9754-9BBA6A568746}"/>
              </a:ext>
            </a:extLst>
          </p:cNvPr>
          <p:cNvSpPr txBox="1"/>
          <p:nvPr/>
        </p:nvSpPr>
        <p:spPr>
          <a:xfrm>
            <a:off x="2806290" y="4274238"/>
            <a:ext cx="4606193" cy="923330"/>
          </a:xfrm>
          <a:prstGeom prst="rect">
            <a:avLst/>
          </a:prstGeom>
          <a:noFill/>
        </p:spPr>
        <p:txBody>
          <a:bodyPr wrap="square" rtlCol="0">
            <a:spAutoFit/>
          </a:bodyPr>
          <a:lstStyle/>
          <a:p>
            <a:r>
              <a:rPr lang="de-DE" dirty="0"/>
              <a:t>Master-Shapes ein- oder ausblenden</a:t>
            </a:r>
          </a:p>
          <a:p>
            <a:r>
              <a:rPr lang="de-DE" i="1" dirty="0"/>
              <a:t>(Bspw. nützlich um Folienmaster im Zug zu „anonymisieren“)</a:t>
            </a:r>
          </a:p>
        </p:txBody>
      </p:sp>
      <p:sp>
        <p:nvSpPr>
          <p:cNvPr id="7" name="Textfeld 6">
            <a:extLst>
              <a:ext uri="{FF2B5EF4-FFF2-40B4-BE49-F238E27FC236}">
                <a16:creationId xmlns:a16="http://schemas.microsoft.com/office/drawing/2014/main" id="{5B1A18FF-FDBD-40AB-9754-9BBA6A568746}"/>
              </a:ext>
            </a:extLst>
          </p:cNvPr>
          <p:cNvSpPr txBox="1"/>
          <p:nvPr/>
        </p:nvSpPr>
        <p:spPr>
          <a:xfrm>
            <a:off x="2806291" y="5346128"/>
            <a:ext cx="4606193" cy="369332"/>
          </a:xfrm>
          <a:prstGeom prst="rect">
            <a:avLst/>
          </a:prstGeom>
          <a:noFill/>
        </p:spPr>
        <p:txBody>
          <a:bodyPr wrap="square" rtlCol="0">
            <a:spAutoFit/>
          </a:bodyPr>
          <a:lstStyle/>
          <a:p>
            <a:r>
              <a:rPr lang="de-DE" dirty="0"/>
              <a:t>Aktuelle Datei im Explorer öffnen</a:t>
            </a:r>
          </a:p>
        </p:txBody>
      </p:sp>
      <p:sp>
        <p:nvSpPr>
          <p:cNvPr id="10" name="Rechteck 9">
            <a:extLst>
              <a:ext uri="{FF2B5EF4-FFF2-40B4-BE49-F238E27FC236}">
                <a16:creationId xmlns:a16="http://schemas.microsoft.com/office/drawing/2014/main" id="{C572475E-C162-4F56-8FC8-B6695F3653D8}"/>
              </a:ext>
            </a:extLst>
          </p:cNvPr>
          <p:cNvSpPr/>
          <p:nvPr/>
        </p:nvSpPr>
        <p:spPr>
          <a:xfrm>
            <a:off x="287848" y="4714909"/>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a:extLst>
              <a:ext uri="{FF2B5EF4-FFF2-40B4-BE49-F238E27FC236}">
                <a16:creationId xmlns:a16="http://schemas.microsoft.com/office/drawing/2014/main" id="{C572475E-C162-4F56-8FC8-B6695F3653D8}"/>
              </a:ext>
            </a:extLst>
          </p:cNvPr>
          <p:cNvSpPr/>
          <p:nvPr/>
        </p:nvSpPr>
        <p:spPr>
          <a:xfrm>
            <a:off x="287848" y="4925116"/>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C572475E-C162-4F56-8FC8-B6695F3653D8}"/>
              </a:ext>
            </a:extLst>
          </p:cNvPr>
          <p:cNvSpPr/>
          <p:nvPr/>
        </p:nvSpPr>
        <p:spPr>
          <a:xfrm>
            <a:off x="287848" y="5844467"/>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C572475E-C162-4F56-8FC8-B6695F3653D8}"/>
              </a:ext>
            </a:extLst>
          </p:cNvPr>
          <p:cNvSpPr/>
          <p:nvPr/>
        </p:nvSpPr>
        <p:spPr>
          <a:xfrm>
            <a:off x="287848" y="6045732"/>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a:extLst>
              <a:ext uri="{FF2B5EF4-FFF2-40B4-BE49-F238E27FC236}">
                <a16:creationId xmlns:a16="http://schemas.microsoft.com/office/drawing/2014/main" id="{C572475E-C162-4F56-8FC8-B6695F3653D8}"/>
              </a:ext>
            </a:extLst>
          </p:cNvPr>
          <p:cNvSpPr/>
          <p:nvPr/>
        </p:nvSpPr>
        <p:spPr>
          <a:xfrm>
            <a:off x="287848" y="6395520"/>
            <a:ext cx="2218285" cy="34727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6" name="Grafik 15"/>
          <p:cNvPicPr>
            <a:picLocks noChangeAspect="1"/>
          </p:cNvPicPr>
          <p:nvPr/>
        </p:nvPicPr>
        <p:blipFill>
          <a:blip r:embed="rId7"/>
          <a:stretch>
            <a:fillRect/>
          </a:stretch>
        </p:blipFill>
        <p:spPr>
          <a:xfrm>
            <a:off x="8938008" y="1645492"/>
            <a:ext cx="2415792" cy="3234905"/>
          </a:xfrm>
          <a:prstGeom prst="rect">
            <a:avLst/>
          </a:prstGeom>
        </p:spPr>
      </p:pic>
      <p:pic>
        <p:nvPicPr>
          <p:cNvPr id="17" name="Grafik 16"/>
          <p:cNvPicPr>
            <a:picLocks noChangeAspect="1"/>
          </p:cNvPicPr>
          <p:nvPr/>
        </p:nvPicPr>
        <p:blipFill>
          <a:blip r:embed="rId8"/>
          <a:stretch>
            <a:fillRect/>
          </a:stretch>
        </p:blipFill>
        <p:spPr>
          <a:xfrm>
            <a:off x="2694399" y="1502427"/>
            <a:ext cx="3598525" cy="1899380"/>
          </a:xfrm>
          <a:prstGeom prst="rect">
            <a:avLst/>
          </a:prstGeom>
        </p:spPr>
      </p:pic>
      <p:sp>
        <p:nvSpPr>
          <p:cNvPr id="18" name="Textfeld 17">
            <a:extLst>
              <a:ext uri="{FF2B5EF4-FFF2-40B4-BE49-F238E27FC236}">
                <a16:creationId xmlns:a16="http://schemas.microsoft.com/office/drawing/2014/main" id="{5B1A18FF-FDBD-40AB-9754-9BBA6A568746}"/>
              </a:ext>
            </a:extLst>
          </p:cNvPr>
          <p:cNvSpPr txBox="1"/>
          <p:nvPr/>
        </p:nvSpPr>
        <p:spPr>
          <a:xfrm>
            <a:off x="6680084" y="1646631"/>
            <a:ext cx="2175990" cy="1200329"/>
          </a:xfrm>
          <a:prstGeom prst="rect">
            <a:avLst/>
          </a:prstGeom>
          <a:noFill/>
        </p:spPr>
        <p:txBody>
          <a:bodyPr wrap="square" rtlCol="0">
            <a:spAutoFit/>
          </a:bodyPr>
          <a:lstStyle/>
          <a:p>
            <a:r>
              <a:rPr lang="de-DE" dirty="0"/>
              <a:t>Neuer Dialog zum Aufräumen des ganzen Foliensatzes</a:t>
            </a:r>
          </a:p>
        </p:txBody>
      </p:sp>
      <p:sp>
        <p:nvSpPr>
          <p:cNvPr id="19" name="Textfeld 18">
            <a:extLst>
              <a:ext uri="{FF2B5EF4-FFF2-40B4-BE49-F238E27FC236}">
                <a16:creationId xmlns:a16="http://schemas.microsoft.com/office/drawing/2014/main" id="{5B1A18FF-FDBD-40AB-9754-9BBA6A568746}"/>
              </a:ext>
            </a:extLst>
          </p:cNvPr>
          <p:cNvSpPr txBox="1"/>
          <p:nvPr/>
        </p:nvSpPr>
        <p:spPr>
          <a:xfrm>
            <a:off x="8985974" y="4921928"/>
            <a:ext cx="2636908" cy="646331"/>
          </a:xfrm>
          <a:prstGeom prst="rect">
            <a:avLst/>
          </a:prstGeom>
          <a:noFill/>
        </p:spPr>
        <p:txBody>
          <a:bodyPr wrap="square" rtlCol="0">
            <a:spAutoFit/>
          </a:bodyPr>
          <a:lstStyle/>
          <a:p>
            <a:r>
              <a:rPr lang="de-DE" dirty="0"/>
              <a:t>Neuer Dialog für Spracheinstellung</a:t>
            </a:r>
          </a:p>
        </p:txBody>
      </p:sp>
    </p:spTree>
    <p:extLst>
      <p:ext uri="{BB962C8B-B14F-4D97-AF65-F5344CB8AC3E}">
        <p14:creationId xmlns:p14="http://schemas.microsoft.com/office/powerpoint/2010/main" val="3113730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22565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esserte Dialoge</a:t>
            </a:r>
          </a:p>
        </p:txBody>
      </p:sp>
      <p:pic>
        <p:nvPicPr>
          <p:cNvPr id="4" name="Grafik 3"/>
          <p:cNvPicPr>
            <a:picLocks noChangeAspect="1"/>
          </p:cNvPicPr>
          <p:nvPr/>
        </p:nvPicPr>
        <p:blipFill>
          <a:blip r:embed="rId6"/>
          <a:stretch>
            <a:fillRect/>
          </a:stretch>
        </p:blipFill>
        <p:spPr>
          <a:xfrm>
            <a:off x="8367334" y="1966429"/>
            <a:ext cx="3226970" cy="2184512"/>
          </a:xfrm>
          <a:prstGeom prst="rect">
            <a:avLst/>
          </a:prstGeom>
        </p:spPr>
      </p:pic>
      <p:pic>
        <p:nvPicPr>
          <p:cNvPr id="5" name="Grafik 4"/>
          <p:cNvPicPr>
            <a:picLocks noChangeAspect="1"/>
          </p:cNvPicPr>
          <p:nvPr/>
        </p:nvPicPr>
        <p:blipFill>
          <a:blip r:embed="rId7"/>
          <a:stretch>
            <a:fillRect/>
          </a:stretch>
        </p:blipFill>
        <p:spPr>
          <a:xfrm>
            <a:off x="492261" y="1918802"/>
            <a:ext cx="3219615" cy="2184512"/>
          </a:xfrm>
          <a:prstGeom prst="rect">
            <a:avLst/>
          </a:prstGeom>
        </p:spPr>
      </p:pic>
      <p:pic>
        <p:nvPicPr>
          <p:cNvPr id="6" name="Grafik 5"/>
          <p:cNvPicPr>
            <a:picLocks noChangeAspect="1"/>
          </p:cNvPicPr>
          <p:nvPr/>
        </p:nvPicPr>
        <p:blipFill>
          <a:blip r:embed="rId8"/>
          <a:stretch>
            <a:fillRect/>
          </a:stretch>
        </p:blipFill>
        <p:spPr>
          <a:xfrm>
            <a:off x="3951253" y="1925152"/>
            <a:ext cx="4100750" cy="2184512"/>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452758" y="4497085"/>
            <a:ext cx="3259118" cy="1200329"/>
          </a:xfrm>
          <a:prstGeom prst="rect">
            <a:avLst/>
          </a:prstGeom>
          <a:noFill/>
        </p:spPr>
        <p:txBody>
          <a:bodyPr wrap="square" rtlCol="0">
            <a:spAutoFit/>
          </a:bodyPr>
          <a:lstStyle/>
          <a:p>
            <a:r>
              <a:rPr lang="de-DE" dirty="0"/>
              <a:t>„Folien senden“ übersichtlicher und mit Funktion „Versteckte Folien löschen“</a:t>
            </a:r>
          </a:p>
        </p:txBody>
      </p:sp>
      <p:sp>
        <p:nvSpPr>
          <p:cNvPr id="10" name="Textfeld 9">
            <a:extLst>
              <a:ext uri="{FF2B5EF4-FFF2-40B4-BE49-F238E27FC236}">
                <a16:creationId xmlns:a16="http://schemas.microsoft.com/office/drawing/2014/main" id="{5B1A18FF-FDBD-40AB-9754-9BBA6A568746}"/>
              </a:ext>
            </a:extLst>
          </p:cNvPr>
          <p:cNvSpPr txBox="1"/>
          <p:nvPr/>
        </p:nvSpPr>
        <p:spPr>
          <a:xfrm>
            <a:off x="4093126" y="4497085"/>
            <a:ext cx="3574429" cy="923330"/>
          </a:xfrm>
          <a:prstGeom prst="rect">
            <a:avLst/>
          </a:prstGeom>
          <a:noFill/>
        </p:spPr>
        <p:txBody>
          <a:bodyPr wrap="square" rtlCol="0">
            <a:spAutoFit/>
          </a:bodyPr>
          <a:lstStyle/>
          <a:p>
            <a:r>
              <a:rPr lang="de-DE" dirty="0"/>
              <a:t>Übersichtlichere Darstellung für benutzerdefinierte Auswahl von Shapes</a:t>
            </a:r>
          </a:p>
        </p:txBody>
      </p:sp>
      <p:sp>
        <p:nvSpPr>
          <p:cNvPr id="11" name="Textfeld 10">
            <a:extLst>
              <a:ext uri="{FF2B5EF4-FFF2-40B4-BE49-F238E27FC236}">
                <a16:creationId xmlns:a16="http://schemas.microsoft.com/office/drawing/2014/main" id="{5B1A18FF-FDBD-40AB-9754-9BBA6A568746}"/>
              </a:ext>
            </a:extLst>
          </p:cNvPr>
          <p:cNvSpPr txBox="1"/>
          <p:nvPr/>
        </p:nvSpPr>
        <p:spPr>
          <a:xfrm>
            <a:off x="8367334" y="4497085"/>
            <a:ext cx="3228776" cy="923330"/>
          </a:xfrm>
          <a:prstGeom prst="rect">
            <a:avLst/>
          </a:prstGeom>
          <a:noFill/>
        </p:spPr>
        <p:txBody>
          <a:bodyPr wrap="square" rtlCol="0">
            <a:spAutoFit/>
          </a:bodyPr>
          <a:lstStyle/>
          <a:p>
            <a:r>
              <a:rPr lang="de-DE" dirty="0"/>
              <a:t>Text ersetzen unterstützt nun weitere Variable, </a:t>
            </a:r>
            <a:r>
              <a:rPr lang="de-DE" dirty="0" err="1"/>
              <a:t>u.A.</a:t>
            </a:r>
            <a:r>
              <a:rPr lang="de-DE" dirty="0"/>
              <a:t> für Counter</a:t>
            </a:r>
          </a:p>
        </p:txBody>
      </p:sp>
    </p:spTree>
    <p:extLst>
      <p:ext uri="{BB962C8B-B14F-4D97-AF65-F5344CB8AC3E}">
        <p14:creationId xmlns:p14="http://schemas.microsoft.com/office/powerpoint/2010/main" val="32284251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5DB5AE4-62D4-416B-96F7-30A6384A30CD}"/>
              </a:ext>
            </a:extLst>
          </p:cNvPr>
          <p:cNvSpPr/>
          <p:nvPr/>
        </p:nvSpPr>
        <p:spPr>
          <a:xfrm>
            <a:off x="5963439" y="1539631"/>
            <a:ext cx="5884384" cy="5064369"/>
          </a:xfrm>
          <a:prstGeom prst="rect">
            <a:avLst/>
          </a:prstGeom>
          <a:solidFill>
            <a:schemeClr val="bg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1" name="Objekt 10" hidden="1"/>
          <p:cNvGraphicFramePr>
            <a:graphicFrameLocks noChangeAspect="1"/>
          </p:cNvGraphicFramePr>
          <p:nvPr>
            <p:custDataLst>
              <p:tags r:id="rId1"/>
            </p:custDataLst>
            <p:extLst>
              <p:ext uri="{D42A27DB-BD31-4B8C-83A1-F6EECF244321}">
                <p14:modId xmlns:p14="http://schemas.microsoft.com/office/powerpoint/2010/main" val="260903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pic>
        <p:nvPicPr>
          <p:cNvPr id="4" name="Grafik 3">
            <a:extLst>
              <a:ext uri="{FF2B5EF4-FFF2-40B4-BE49-F238E27FC236}">
                <a16:creationId xmlns:a16="http://schemas.microsoft.com/office/drawing/2014/main" id="{0289026C-FA3F-4984-9409-1B54EC2C020F}"/>
              </a:ext>
            </a:extLst>
          </p:cNvPr>
          <p:cNvPicPr>
            <a:picLocks noChangeAspect="1"/>
          </p:cNvPicPr>
          <p:nvPr/>
        </p:nvPicPr>
        <p:blipFill>
          <a:blip r:embed="rId6"/>
          <a:stretch>
            <a:fillRect/>
          </a:stretch>
        </p:blipFill>
        <p:spPr>
          <a:xfrm>
            <a:off x="339206" y="1950982"/>
            <a:ext cx="5254020" cy="765868"/>
          </a:xfrm>
          <a:prstGeom prst="rect">
            <a:avLst/>
          </a:prstGeom>
        </p:spPr>
      </p:pic>
      <p:sp>
        <p:nvSpPr>
          <p:cNvPr id="2" name="Titel 1"/>
          <p:cNvSpPr>
            <a:spLocks noGrp="1"/>
          </p:cNvSpPr>
          <p:nvPr>
            <p:ph type="title"/>
          </p:nvPr>
        </p:nvSpPr>
        <p:spPr/>
        <p:txBody>
          <a:bodyPr/>
          <a:lstStyle/>
          <a:p>
            <a:r>
              <a:rPr lang="de-DE" dirty="0"/>
              <a:t>Komprimierte Schrift/Text-Gruppe</a:t>
            </a:r>
          </a:p>
        </p:txBody>
      </p:sp>
      <p:pic>
        <p:nvPicPr>
          <p:cNvPr id="3" name="Grafik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0936" y="3569412"/>
            <a:ext cx="2771775" cy="914400"/>
          </a:xfrm>
          <a:prstGeom prst="rect">
            <a:avLst/>
          </a:prstGeom>
        </p:spPr>
      </p:pic>
      <p:cxnSp>
        <p:nvCxnSpPr>
          <p:cNvPr id="7" name="Gerade Verbindung mit Pfeil 6"/>
          <p:cNvCxnSpPr/>
          <p:nvPr/>
        </p:nvCxnSpPr>
        <p:spPr>
          <a:xfrm>
            <a:off x="1522876"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6B6FA08E-F225-40D4-92D1-0B335E7368E9}"/>
              </a:ext>
            </a:extLst>
          </p:cNvPr>
          <p:cNvSpPr txBox="1"/>
          <p:nvPr/>
        </p:nvSpPr>
        <p:spPr>
          <a:xfrm>
            <a:off x="339207" y="4715114"/>
            <a:ext cx="5254020" cy="923330"/>
          </a:xfrm>
          <a:prstGeom prst="rect">
            <a:avLst/>
          </a:prstGeom>
          <a:noFill/>
        </p:spPr>
        <p:txBody>
          <a:bodyPr wrap="square" rtlCol="0">
            <a:spAutoFit/>
          </a:bodyPr>
          <a:lstStyle/>
          <a:p>
            <a:r>
              <a:rPr lang="de-DE" dirty="0"/>
              <a:t>Neue schlanke „Schriftart/Text“-Gruppe fasst Schriftart und Absatz Funktionen zusammen, und ergänzt hoch-/tiefstellen</a:t>
            </a:r>
          </a:p>
        </p:txBody>
      </p:sp>
      <p:pic>
        <p:nvPicPr>
          <p:cNvPr id="6" name="Grafik 5">
            <a:extLst>
              <a:ext uri="{FF2B5EF4-FFF2-40B4-BE49-F238E27FC236}">
                <a16:creationId xmlns:a16="http://schemas.microsoft.com/office/drawing/2014/main" id="{A833C0C8-3471-4B16-8C47-BEA89AA47A64}"/>
              </a:ext>
            </a:extLst>
          </p:cNvPr>
          <p:cNvPicPr>
            <a:picLocks noChangeAspect="1"/>
          </p:cNvPicPr>
          <p:nvPr/>
        </p:nvPicPr>
        <p:blipFill>
          <a:blip r:embed="rId8"/>
          <a:stretch>
            <a:fillRect/>
          </a:stretch>
        </p:blipFill>
        <p:spPr>
          <a:xfrm>
            <a:off x="6204057" y="1686728"/>
            <a:ext cx="2771775" cy="2886311"/>
          </a:xfrm>
          <a:prstGeom prst="rect">
            <a:avLst/>
          </a:prstGeom>
        </p:spPr>
      </p:pic>
      <p:pic>
        <p:nvPicPr>
          <p:cNvPr id="14" name="Grafik 13"/>
          <p:cNvPicPr>
            <a:picLocks noChangeAspect="1"/>
          </p:cNvPicPr>
          <p:nvPr/>
        </p:nvPicPr>
        <p:blipFill>
          <a:blip r:embed="rId9"/>
          <a:stretch>
            <a:fillRect/>
          </a:stretch>
        </p:blipFill>
        <p:spPr>
          <a:xfrm>
            <a:off x="9175125" y="1937654"/>
            <a:ext cx="2461670" cy="4528874"/>
          </a:xfrm>
          <a:prstGeom prst="rect">
            <a:avLst/>
          </a:prstGeom>
        </p:spPr>
      </p:pic>
      <p:cxnSp>
        <p:nvCxnSpPr>
          <p:cNvPr id="15" name="Gerade Verbindung mit Pfeil 14"/>
          <p:cNvCxnSpPr/>
          <p:nvPr/>
        </p:nvCxnSpPr>
        <p:spPr>
          <a:xfrm flipH="1">
            <a:off x="3253065"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6B6FA08E-F225-40D4-92D1-0B335E7368E9}"/>
              </a:ext>
            </a:extLst>
          </p:cNvPr>
          <p:cNvSpPr txBox="1"/>
          <p:nvPr/>
        </p:nvSpPr>
        <p:spPr>
          <a:xfrm>
            <a:off x="6237484" y="4820005"/>
            <a:ext cx="2937641" cy="1477328"/>
          </a:xfrm>
          <a:prstGeom prst="rect">
            <a:avLst/>
          </a:prstGeom>
          <a:noFill/>
        </p:spPr>
        <p:txBody>
          <a:bodyPr wrap="square" rtlCol="0">
            <a:spAutoFit/>
          </a:bodyPr>
          <a:lstStyle/>
          <a:p>
            <a:r>
              <a:rPr lang="de-DE" i="1" dirty="0"/>
              <a:t>(Standardmäßig im Widescreen-</a:t>
            </a:r>
            <a:r>
              <a:rPr lang="de-DE" i="1" dirty="0" err="1"/>
              <a:t>Theme</a:t>
            </a:r>
            <a:r>
              <a:rPr lang="de-DE" i="1" dirty="0"/>
              <a:t> oder manuell aktivierbar in der UI-Anpassung)</a:t>
            </a:r>
          </a:p>
        </p:txBody>
      </p:sp>
      <p:sp>
        <p:nvSpPr>
          <p:cNvPr id="17" name="Rechteck 16">
            <a:extLst>
              <a:ext uri="{FF2B5EF4-FFF2-40B4-BE49-F238E27FC236}">
                <a16:creationId xmlns:a16="http://schemas.microsoft.com/office/drawing/2014/main" id="{C572475E-C162-4F56-8FC8-B6695F3653D8}"/>
              </a:ext>
            </a:extLst>
          </p:cNvPr>
          <p:cNvSpPr/>
          <p:nvPr/>
        </p:nvSpPr>
        <p:spPr>
          <a:xfrm>
            <a:off x="9150380" y="3085706"/>
            <a:ext cx="2521358"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9FA837B-A6AD-4109-A3AC-DFA924D99335}"/>
              </a:ext>
            </a:extLst>
          </p:cNvPr>
          <p:cNvSpPr/>
          <p:nvPr/>
        </p:nvSpPr>
        <p:spPr>
          <a:xfrm>
            <a:off x="6273930" y="4337587"/>
            <a:ext cx="1440000"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1301479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65902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hartLib</a:t>
            </a:r>
            <a:r>
              <a:rPr lang="de-DE" dirty="0"/>
              <a:t> Verbesserungen</a:t>
            </a:r>
          </a:p>
        </p:txBody>
      </p:sp>
      <p:pic>
        <p:nvPicPr>
          <p:cNvPr id="7" name="Grafik 6">
            <a:extLst>
              <a:ext uri="{FF2B5EF4-FFF2-40B4-BE49-F238E27FC236}">
                <a16:creationId xmlns:a16="http://schemas.microsoft.com/office/drawing/2014/main" id="{7147FC60-F2EC-44F0-BEA3-82F1FD73FFCF}"/>
              </a:ext>
            </a:extLst>
          </p:cNvPr>
          <p:cNvPicPr>
            <a:picLocks noChangeAspect="1"/>
          </p:cNvPicPr>
          <p:nvPr/>
        </p:nvPicPr>
        <p:blipFill>
          <a:blip r:embed="rId6"/>
          <a:stretch>
            <a:fillRect/>
          </a:stretch>
        </p:blipFill>
        <p:spPr>
          <a:xfrm>
            <a:off x="720969" y="1881929"/>
            <a:ext cx="3784323" cy="2609587"/>
          </a:xfrm>
          <a:prstGeom prst="rect">
            <a:avLst/>
          </a:prstGeom>
        </p:spPr>
      </p:pic>
      <p:sp>
        <p:nvSpPr>
          <p:cNvPr id="6" name="Textfeld 5">
            <a:extLst>
              <a:ext uri="{FF2B5EF4-FFF2-40B4-BE49-F238E27FC236}">
                <a16:creationId xmlns:a16="http://schemas.microsoft.com/office/drawing/2014/main" id="{5B1A18FF-FDBD-40AB-9754-9BBA6A568746}"/>
              </a:ext>
            </a:extLst>
          </p:cNvPr>
          <p:cNvSpPr txBox="1"/>
          <p:nvPr/>
        </p:nvSpPr>
        <p:spPr>
          <a:xfrm>
            <a:off x="4931508" y="2389929"/>
            <a:ext cx="6314830" cy="3508653"/>
          </a:xfrm>
          <a:prstGeom prst="rect">
            <a:avLst/>
          </a:prstGeom>
          <a:noFill/>
        </p:spPr>
        <p:txBody>
          <a:bodyPr wrap="square" rtlCol="0">
            <a:spAutoFit/>
          </a:bodyPr>
          <a:lstStyle/>
          <a:p>
            <a:pPr marL="285750" indent="-285750">
              <a:spcAft>
                <a:spcPts val="2400"/>
              </a:spcAft>
              <a:buFont typeface="Wingdings" panose="05000000000000000000" pitchFamily="2" charset="2"/>
              <a:buChar char="Ø"/>
            </a:pPr>
            <a:r>
              <a:rPr lang="de-DE" dirty="0"/>
              <a:t>Transparente </a:t>
            </a:r>
            <a:r>
              <a:rPr lang="de-DE" dirty="0" err="1"/>
              <a:t>Thumbnails</a:t>
            </a:r>
            <a:r>
              <a:rPr lang="de-DE" dirty="0"/>
              <a:t> (wenn </a:t>
            </a:r>
            <a:r>
              <a:rPr lang="de-DE" dirty="0" err="1"/>
              <a:t>ChartLib</a:t>
            </a:r>
            <a:r>
              <a:rPr lang="de-DE" dirty="0"/>
              <a:t>-Präsentation transparenten Hintergrund hat)</a:t>
            </a:r>
          </a:p>
          <a:p>
            <a:pPr marL="285750" indent="-285750">
              <a:spcAft>
                <a:spcPts val="2400"/>
              </a:spcAft>
              <a:buFont typeface="Wingdings" panose="05000000000000000000" pitchFamily="2" charset="2"/>
              <a:buChar char="Ø"/>
            </a:pPr>
            <a:r>
              <a:rPr lang="de-DE" dirty="0"/>
              <a:t>„Library erneut indizieren“ indiziert nun wirklich alle Dateien</a:t>
            </a:r>
          </a:p>
          <a:p>
            <a:pPr marL="285750" indent="-285750">
              <a:spcAft>
                <a:spcPts val="2400"/>
              </a:spcAft>
              <a:buFont typeface="Wingdings" panose="05000000000000000000" pitchFamily="2" charset="2"/>
              <a:buChar char="Ø"/>
            </a:pPr>
            <a:r>
              <a:rPr lang="de-DE" dirty="0"/>
              <a:t>„Library verwalten“ erlaubt hinzufügen und löschen von Libraries</a:t>
            </a:r>
          </a:p>
          <a:p>
            <a:pPr marL="285750" indent="-285750">
              <a:spcAft>
                <a:spcPts val="2400"/>
              </a:spcAft>
              <a:buFont typeface="Wingdings" panose="05000000000000000000" pitchFamily="2" charset="2"/>
              <a:buChar char="Ø"/>
            </a:pPr>
            <a:r>
              <a:rPr lang="de-DE" dirty="0"/>
              <a:t>Support für Design-Dateien („.</a:t>
            </a:r>
            <a:r>
              <a:rPr lang="de-DE" dirty="0" err="1"/>
              <a:t>potx</a:t>
            </a:r>
            <a:r>
              <a:rPr lang="de-DE" dirty="0"/>
              <a:t>“) um Folienmaster auf die aktuelle Präsentation anzuwenden</a:t>
            </a:r>
          </a:p>
        </p:txBody>
      </p:sp>
      <p:pic>
        <p:nvPicPr>
          <p:cNvPr id="8" name="Grafik 7">
            <a:extLst>
              <a:ext uri="{FF2B5EF4-FFF2-40B4-BE49-F238E27FC236}">
                <a16:creationId xmlns:a16="http://schemas.microsoft.com/office/drawing/2014/main" id="{90AF8F1D-5230-496B-B9AA-02D4A2A1B769}"/>
              </a:ext>
            </a:extLst>
          </p:cNvPr>
          <p:cNvPicPr>
            <a:picLocks noChangeAspect="1"/>
          </p:cNvPicPr>
          <p:nvPr/>
        </p:nvPicPr>
        <p:blipFill>
          <a:blip r:embed="rId7"/>
          <a:stretch>
            <a:fillRect/>
          </a:stretch>
        </p:blipFill>
        <p:spPr>
          <a:xfrm>
            <a:off x="1112733" y="4860703"/>
            <a:ext cx="3000794" cy="1419423"/>
          </a:xfrm>
          <a:prstGeom prst="rect">
            <a:avLst/>
          </a:prstGeom>
        </p:spPr>
      </p:pic>
    </p:spTree>
    <p:extLst>
      <p:ext uri="{BB962C8B-B14F-4D97-AF65-F5344CB8AC3E}">
        <p14:creationId xmlns:p14="http://schemas.microsoft.com/office/powerpoint/2010/main" val="42293061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56519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6" imgH="526" progId="TCLayout.ActiveDocument.1">
                  <p:embed/>
                </p:oleObj>
              </mc:Choice>
              <mc:Fallback>
                <p:oleObj name="think-cell Folie" r:id="rId3" imgW="526" imgH="5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AE5C0DB2-81DC-4BED-834B-88BFC3CF9C10}"/>
              </a:ext>
            </a:extLst>
          </p:cNvPr>
          <p:cNvPicPr>
            <a:picLocks noChangeAspect="1"/>
          </p:cNvPicPr>
          <p:nvPr/>
        </p:nvPicPr>
        <p:blipFill>
          <a:blip r:embed="rId5"/>
          <a:stretch>
            <a:fillRect/>
          </a:stretch>
        </p:blipFill>
        <p:spPr>
          <a:xfrm>
            <a:off x="368117" y="2155889"/>
            <a:ext cx="1924433" cy="2950796"/>
          </a:xfrm>
          <a:prstGeom prst="rect">
            <a:avLst/>
          </a:prstGeom>
        </p:spPr>
      </p:pic>
      <p:sp>
        <p:nvSpPr>
          <p:cNvPr id="2" name="Titel 1"/>
          <p:cNvSpPr>
            <a:spLocks noGrp="1"/>
          </p:cNvSpPr>
          <p:nvPr>
            <p:ph type="title"/>
          </p:nvPr>
        </p:nvSpPr>
        <p:spPr/>
        <p:txBody>
          <a:bodyPr/>
          <a:lstStyle/>
          <a:p>
            <a:r>
              <a:rPr lang="en-US" dirty="0" err="1"/>
              <a:t>Weitere</a:t>
            </a:r>
            <a:r>
              <a:rPr lang="en-US" dirty="0"/>
              <a:t> </a:t>
            </a:r>
            <a:r>
              <a:rPr lang="en-US" dirty="0" err="1"/>
              <a:t>kleine</a:t>
            </a:r>
            <a:r>
              <a:rPr lang="en-US" dirty="0"/>
              <a:t> </a:t>
            </a:r>
            <a:r>
              <a:rPr lang="en-US" dirty="0" err="1"/>
              <a:t>Verbesserungen</a:t>
            </a:r>
            <a:endParaRPr lang="en-US" dirty="0"/>
          </a:p>
        </p:txBody>
      </p:sp>
      <p:pic>
        <p:nvPicPr>
          <p:cNvPr id="6" name="Grafik 5">
            <a:extLst>
              <a:ext uri="{FF2B5EF4-FFF2-40B4-BE49-F238E27FC236}">
                <a16:creationId xmlns:a16="http://schemas.microsoft.com/office/drawing/2014/main" id="{F2A9FE92-7F28-40CC-8CA1-E8E4A21634C5}"/>
              </a:ext>
            </a:extLst>
          </p:cNvPr>
          <p:cNvPicPr>
            <a:picLocks noChangeAspect="1"/>
          </p:cNvPicPr>
          <p:nvPr/>
        </p:nvPicPr>
        <p:blipFill>
          <a:blip r:embed="rId6"/>
          <a:stretch>
            <a:fillRect/>
          </a:stretch>
        </p:blipFill>
        <p:spPr>
          <a:xfrm>
            <a:off x="3489506" y="1690688"/>
            <a:ext cx="914528" cy="952633"/>
          </a:xfrm>
          <a:prstGeom prst="rect">
            <a:avLst/>
          </a:prstGeom>
        </p:spPr>
      </p:pic>
      <p:pic>
        <p:nvPicPr>
          <p:cNvPr id="7" name="Grafik 6">
            <a:extLst>
              <a:ext uri="{FF2B5EF4-FFF2-40B4-BE49-F238E27FC236}">
                <a16:creationId xmlns:a16="http://schemas.microsoft.com/office/drawing/2014/main" id="{D7E956AB-CC2C-4C10-B9D1-25FDF555F5E0}"/>
              </a:ext>
            </a:extLst>
          </p:cNvPr>
          <p:cNvPicPr>
            <a:picLocks noChangeAspect="1"/>
          </p:cNvPicPr>
          <p:nvPr/>
        </p:nvPicPr>
        <p:blipFill>
          <a:blip r:embed="rId7"/>
          <a:stretch>
            <a:fillRect/>
          </a:stretch>
        </p:blipFill>
        <p:spPr>
          <a:xfrm>
            <a:off x="8478599" y="1547205"/>
            <a:ext cx="3307748" cy="1510204"/>
          </a:xfrm>
          <a:prstGeom prst="rect">
            <a:avLst/>
          </a:prstGeom>
        </p:spPr>
      </p:pic>
      <p:sp>
        <p:nvSpPr>
          <p:cNvPr id="9" name="Rechteck 8">
            <a:extLst>
              <a:ext uri="{FF2B5EF4-FFF2-40B4-BE49-F238E27FC236}">
                <a16:creationId xmlns:a16="http://schemas.microsoft.com/office/drawing/2014/main" id="{DE309BCE-FE7B-414E-BD52-BD56B1BE649E}"/>
              </a:ext>
            </a:extLst>
          </p:cNvPr>
          <p:cNvSpPr/>
          <p:nvPr/>
        </p:nvSpPr>
        <p:spPr>
          <a:xfrm>
            <a:off x="3863267" y="2167004"/>
            <a:ext cx="522013"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Grafik 9">
            <a:extLst>
              <a:ext uri="{FF2B5EF4-FFF2-40B4-BE49-F238E27FC236}">
                <a16:creationId xmlns:a16="http://schemas.microsoft.com/office/drawing/2014/main" id="{85471B77-15D9-420F-B9AA-669137E4F3C0}"/>
              </a:ext>
            </a:extLst>
          </p:cNvPr>
          <p:cNvPicPr>
            <a:picLocks noChangeAspect="1"/>
          </p:cNvPicPr>
          <p:nvPr/>
        </p:nvPicPr>
        <p:blipFill>
          <a:blip r:embed="rId8"/>
          <a:stretch>
            <a:fillRect/>
          </a:stretch>
        </p:blipFill>
        <p:spPr>
          <a:xfrm>
            <a:off x="3351477" y="3997441"/>
            <a:ext cx="1533272" cy="1129447"/>
          </a:xfrm>
          <a:prstGeom prst="rect">
            <a:avLst/>
          </a:prstGeom>
        </p:spPr>
      </p:pic>
      <p:sp>
        <p:nvSpPr>
          <p:cNvPr id="12" name="Textfeld 11">
            <a:extLst>
              <a:ext uri="{FF2B5EF4-FFF2-40B4-BE49-F238E27FC236}">
                <a16:creationId xmlns:a16="http://schemas.microsoft.com/office/drawing/2014/main" id="{1DAD387B-CAFB-43A2-8EF8-D4B66BA04B4B}"/>
              </a:ext>
            </a:extLst>
          </p:cNvPr>
          <p:cNvSpPr txBox="1"/>
          <p:nvPr/>
        </p:nvSpPr>
        <p:spPr>
          <a:xfrm>
            <a:off x="233980" y="5208052"/>
            <a:ext cx="2853098" cy="923330"/>
          </a:xfrm>
          <a:prstGeom prst="rect">
            <a:avLst/>
          </a:prstGeom>
          <a:noFill/>
        </p:spPr>
        <p:txBody>
          <a:bodyPr wrap="square" rtlCol="0">
            <a:spAutoFit/>
          </a:bodyPr>
          <a:lstStyle/>
          <a:p>
            <a:r>
              <a:rPr lang="de-DE" dirty="0"/>
              <a:t>Seitenverhältnis-Optionen in BKT Position/Größe-Gruppe</a:t>
            </a:r>
          </a:p>
        </p:txBody>
      </p:sp>
      <p:sp>
        <p:nvSpPr>
          <p:cNvPr id="13" name="Textfeld 12">
            <a:extLst>
              <a:ext uri="{FF2B5EF4-FFF2-40B4-BE49-F238E27FC236}">
                <a16:creationId xmlns:a16="http://schemas.microsoft.com/office/drawing/2014/main" id="{891DC0B9-689B-4634-9CCB-ED74473B7247}"/>
              </a:ext>
            </a:extLst>
          </p:cNvPr>
          <p:cNvSpPr txBox="1"/>
          <p:nvPr/>
        </p:nvSpPr>
        <p:spPr>
          <a:xfrm>
            <a:off x="3351477" y="2717354"/>
            <a:ext cx="2343756" cy="923330"/>
          </a:xfrm>
          <a:prstGeom prst="rect">
            <a:avLst/>
          </a:prstGeom>
          <a:noFill/>
        </p:spPr>
        <p:txBody>
          <a:bodyPr wrap="square" rtlCol="0">
            <a:spAutoFit/>
          </a:bodyPr>
          <a:lstStyle/>
          <a:p>
            <a:r>
              <a:rPr lang="de-DE" dirty="0"/>
              <a:t>Schnellzugriff auf Shape-Selektion in Ablage-Gruppe</a:t>
            </a:r>
          </a:p>
        </p:txBody>
      </p:sp>
      <p:sp>
        <p:nvSpPr>
          <p:cNvPr id="14" name="Textfeld 13">
            <a:extLst>
              <a:ext uri="{FF2B5EF4-FFF2-40B4-BE49-F238E27FC236}">
                <a16:creationId xmlns:a16="http://schemas.microsoft.com/office/drawing/2014/main" id="{7CC0CC48-669F-473E-AA2D-C2C21E3D9B4E}"/>
              </a:ext>
            </a:extLst>
          </p:cNvPr>
          <p:cNvSpPr txBox="1"/>
          <p:nvPr/>
        </p:nvSpPr>
        <p:spPr>
          <a:xfrm>
            <a:off x="4511790" y="1667701"/>
            <a:ext cx="3908901" cy="923330"/>
          </a:xfrm>
          <a:prstGeom prst="rect">
            <a:avLst/>
          </a:prstGeom>
          <a:noFill/>
        </p:spPr>
        <p:txBody>
          <a:bodyPr wrap="square" rtlCol="0">
            <a:spAutoFit/>
          </a:bodyPr>
          <a:lstStyle/>
          <a:p>
            <a:r>
              <a:rPr lang="de-DE" dirty="0"/>
              <a:t>„Format </a:t>
            </a:r>
            <a:r>
              <a:rPr lang="de-DE" dirty="0" err="1"/>
              <a:t>Sync</a:t>
            </a:r>
            <a:r>
              <a:rPr lang="de-DE" dirty="0"/>
              <a:t>“ gleicht das Format aller gewählten Shapes mit erstem Shape ab</a:t>
            </a:r>
          </a:p>
        </p:txBody>
      </p:sp>
      <p:sp>
        <p:nvSpPr>
          <p:cNvPr id="15" name="Rechteck 14">
            <a:extLst>
              <a:ext uri="{FF2B5EF4-FFF2-40B4-BE49-F238E27FC236}">
                <a16:creationId xmlns:a16="http://schemas.microsoft.com/office/drawing/2014/main" id="{EA67E584-155C-449A-8A9B-FD24710F4056}"/>
              </a:ext>
            </a:extLst>
          </p:cNvPr>
          <p:cNvSpPr/>
          <p:nvPr/>
        </p:nvSpPr>
        <p:spPr>
          <a:xfrm>
            <a:off x="4047685" y="1946284"/>
            <a:ext cx="290706"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extfeld 15">
            <a:extLst>
              <a:ext uri="{FF2B5EF4-FFF2-40B4-BE49-F238E27FC236}">
                <a16:creationId xmlns:a16="http://schemas.microsoft.com/office/drawing/2014/main" id="{37480681-B85D-49B8-A883-FDF35F5F2BFE}"/>
              </a:ext>
            </a:extLst>
          </p:cNvPr>
          <p:cNvSpPr txBox="1"/>
          <p:nvPr/>
        </p:nvSpPr>
        <p:spPr>
          <a:xfrm>
            <a:off x="8583710" y="3235868"/>
            <a:ext cx="3097526" cy="1754326"/>
          </a:xfrm>
          <a:prstGeom prst="rect">
            <a:avLst/>
          </a:prstGeom>
          <a:noFill/>
        </p:spPr>
        <p:txBody>
          <a:bodyPr wrap="square" rtlCol="0">
            <a:spAutoFit/>
          </a:bodyPr>
          <a:lstStyle/>
          <a:p>
            <a:r>
              <a:rPr lang="de-DE" dirty="0"/>
              <a:t>„Format </a:t>
            </a:r>
            <a:r>
              <a:rPr lang="de-DE" dirty="0" err="1"/>
              <a:t>Sync</a:t>
            </a:r>
            <a:r>
              <a:rPr lang="de-DE" dirty="0"/>
              <a:t>“ geht auch über Kontextmenü, wobei dann das Format des angeklickten Shapes auf alle anderen übertragen wird</a:t>
            </a:r>
          </a:p>
        </p:txBody>
      </p:sp>
      <p:sp>
        <p:nvSpPr>
          <p:cNvPr id="17" name="Rechteck 16">
            <a:extLst>
              <a:ext uri="{FF2B5EF4-FFF2-40B4-BE49-F238E27FC236}">
                <a16:creationId xmlns:a16="http://schemas.microsoft.com/office/drawing/2014/main" id="{626BB0C0-68A3-4881-BDD2-7C054ADB3EC9}"/>
              </a:ext>
            </a:extLst>
          </p:cNvPr>
          <p:cNvSpPr/>
          <p:nvPr/>
        </p:nvSpPr>
        <p:spPr>
          <a:xfrm>
            <a:off x="10237468" y="2397325"/>
            <a:ext cx="1469977" cy="320029"/>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667192C3-A3BF-4C46-9D84-B56CAA34603E}"/>
              </a:ext>
            </a:extLst>
          </p:cNvPr>
          <p:cNvSpPr/>
          <p:nvPr/>
        </p:nvSpPr>
        <p:spPr>
          <a:xfrm>
            <a:off x="3286728" y="4692797"/>
            <a:ext cx="1694320"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8C0A59C0-A779-4369-99BD-58C3C767202D}"/>
              </a:ext>
            </a:extLst>
          </p:cNvPr>
          <p:cNvSpPr txBox="1"/>
          <p:nvPr/>
        </p:nvSpPr>
        <p:spPr>
          <a:xfrm>
            <a:off x="5054210" y="3961999"/>
            <a:ext cx="2811322" cy="1200329"/>
          </a:xfrm>
          <a:prstGeom prst="rect">
            <a:avLst/>
          </a:prstGeom>
          <a:noFill/>
        </p:spPr>
        <p:txBody>
          <a:bodyPr wrap="square" rtlCol="0">
            <a:spAutoFit/>
          </a:bodyPr>
          <a:lstStyle/>
          <a:p>
            <a:r>
              <a:rPr lang="de-DE" dirty="0"/>
              <a:t>Mit Zwischenablage ersetzen geht nun auch für mehrere ausgewählte Shapes</a:t>
            </a:r>
          </a:p>
        </p:txBody>
      </p:sp>
      <p:pic>
        <p:nvPicPr>
          <p:cNvPr id="21" name="Grafik 20">
            <a:extLst>
              <a:ext uri="{FF2B5EF4-FFF2-40B4-BE49-F238E27FC236}">
                <a16:creationId xmlns:a16="http://schemas.microsoft.com/office/drawing/2014/main" id="{097851E6-0B84-4344-BC98-BF5B77294322}"/>
              </a:ext>
            </a:extLst>
          </p:cNvPr>
          <p:cNvPicPr>
            <a:picLocks noChangeAspect="1"/>
          </p:cNvPicPr>
          <p:nvPr/>
        </p:nvPicPr>
        <p:blipFill>
          <a:blip r:embed="rId9"/>
          <a:stretch>
            <a:fillRect/>
          </a:stretch>
        </p:blipFill>
        <p:spPr>
          <a:xfrm>
            <a:off x="5496972" y="5995981"/>
            <a:ext cx="1820078" cy="683489"/>
          </a:xfrm>
          <a:prstGeom prst="rect">
            <a:avLst/>
          </a:prstGeom>
        </p:spPr>
      </p:pic>
      <p:sp>
        <p:nvSpPr>
          <p:cNvPr id="23" name="Textfeld 22">
            <a:extLst>
              <a:ext uri="{FF2B5EF4-FFF2-40B4-BE49-F238E27FC236}">
                <a16:creationId xmlns:a16="http://schemas.microsoft.com/office/drawing/2014/main" id="{43AD54A4-18DE-4C6B-96E4-E699005A0525}"/>
              </a:ext>
            </a:extLst>
          </p:cNvPr>
          <p:cNvSpPr txBox="1"/>
          <p:nvPr/>
        </p:nvSpPr>
        <p:spPr>
          <a:xfrm>
            <a:off x="9473578" y="5995981"/>
            <a:ext cx="2300393" cy="646331"/>
          </a:xfrm>
          <a:prstGeom prst="rect">
            <a:avLst/>
          </a:prstGeom>
          <a:noFill/>
        </p:spPr>
        <p:txBody>
          <a:bodyPr wrap="square" rtlCol="0">
            <a:spAutoFit/>
          </a:bodyPr>
          <a:lstStyle/>
          <a:p>
            <a:r>
              <a:rPr lang="de-DE" dirty="0"/>
              <a:t>Dark </a:t>
            </a:r>
            <a:r>
              <a:rPr lang="de-DE" dirty="0" err="1"/>
              <a:t>Theme</a:t>
            </a:r>
            <a:r>
              <a:rPr lang="de-DE" dirty="0"/>
              <a:t> für </a:t>
            </a:r>
            <a:r>
              <a:rPr lang="de-DE" dirty="0" err="1"/>
              <a:t>QuickEdit</a:t>
            </a:r>
            <a:r>
              <a:rPr lang="de-DE" dirty="0"/>
              <a:t>-Fenster</a:t>
            </a:r>
          </a:p>
        </p:txBody>
      </p:sp>
      <p:pic>
        <p:nvPicPr>
          <p:cNvPr id="25" name="Grafik 24">
            <a:extLst>
              <a:ext uri="{FF2B5EF4-FFF2-40B4-BE49-F238E27FC236}">
                <a16:creationId xmlns:a16="http://schemas.microsoft.com/office/drawing/2014/main" id="{7756EBB3-182C-47F1-A88C-0A2C307F8A84}"/>
              </a:ext>
            </a:extLst>
          </p:cNvPr>
          <p:cNvPicPr>
            <a:picLocks noChangeAspect="1"/>
          </p:cNvPicPr>
          <p:nvPr/>
        </p:nvPicPr>
        <p:blipFill>
          <a:blip r:embed="rId10"/>
          <a:stretch>
            <a:fillRect/>
          </a:stretch>
        </p:blipFill>
        <p:spPr>
          <a:xfrm>
            <a:off x="7456157" y="5894221"/>
            <a:ext cx="1860646" cy="819192"/>
          </a:xfrm>
          <a:prstGeom prst="rect">
            <a:avLst/>
          </a:prstGeom>
        </p:spPr>
      </p:pic>
      <p:sp>
        <p:nvSpPr>
          <p:cNvPr id="26" name="Rechteck 25">
            <a:extLst>
              <a:ext uri="{FF2B5EF4-FFF2-40B4-BE49-F238E27FC236}">
                <a16:creationId xmlns:a16="http://schemas.microsoft.com/office/drawing/2014/main" id="{4A9AAB33-033D-4ADD-A023-872F8E757A47}"/>
              </a:ext>
            </a:extLst>
          </p:cNvPr>
          <p:cNvSpPr/>
          <p:nvPr/>
        </p:nvSpPr>
        <p:spPr>
          <a:xfrm>
            <a:off x="7456157" y="6033139"/>
            <a:ext cx="1929068"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9306458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1804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Rückgängig“-Funktion bei Popup-Aktionen war bisher nicht verfügbar</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Popup wurde nicht oder falsch angezeigt bei Multi-Monitor-Setup</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Fehler nach PowerPoint-Absturz behoben</a:t>
            </a:r>
          </a:p>
        </p:txBody>
      </p:sp>
      <p:sp>
        <p:nvSpPr>
          <p:cNvPr id="6" name="Textfeld 5">
            <a:extLst>
              <a:ext uri="{FF2B5EF4-FFF2-40B4-BE49-F238E27FC236}">
                <a16:creationId xmlns:a16="http://schemas.microsoft.com/office/drawing/2014/main" id="{6B6FA08E-F225-40D4-92D1-0B335E7368E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PowerPoint-Neustart nach dem Schließen (hoffentlich) behoben</a:t>
            </a:r>
          </a:p>
        </p:txBody>
      </p:sp>
      <p:sp>
        <p:nvSpPr>
          <p:cNvPr id="10" name="Textfeld 9">
            <a:extLst>
              <a:ext uri="{FF2B5EF4-FFF2-40B4-BE49-F238E27FC236}">
                <a16:creationId xmlns:a16="http://schemas.microsoft.com/office/drawing/2014/main" id="{6B6FA08E-F225-40D4-92D1-0B335E7368E9}"/>
              </a:ext>
            </a:extLst>
          </p:cNvPr>
          <p:cNvSpPr txBox="1"/>
          <p:nvPr/>
        </p:nvSpPr>
        <p:spPr>
          <a:xfrm>
            <a:off x="838200" y="4825358"/>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a:t>Prüfung der Office </a:t>
            </a:r>
            <a:r>
              <a:rPr lang="de-DE" dirty="0" err="1"/>
              <a:t>Bitness</a:t>
            </a:r>
            <a:r>
              <a:rPr lang="de-DE" dirty="0"/>
              <a:t> (32/64bit) standardmäßig deaktiviert, stattdessen Installation für beide Versionen</a:t>
            </a:r>
          </a:p>
        </p:txBody>
      </p:sp>
    </p:spTree>
    <p:extLst>
      <p:ext uri="{BB962C8B-B14F-4D97-AF65-F5344CB8AC3E}">
        <p14:creationId xmlns:p14="http://schemas.microsoft.com/office/powerpoint/2010/main" val="38174515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0</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8B022A5-FB0C-1D48-AC2A-29461A1E4CED}"/>
              </a:ext>
            </a:extLst>
          </p:cNvPr>
          <p:cNvGraphicFramePr>
            <a:graphicFrameLocks noChangeAspect="1"/>
          </p:cNvGraphicFramePr>
          <p:nvPr>
            <p:custDataLst>
              <p:tags r:id="rId1"/>
            </p:custDataLst>
            <p:extLst>
              <p:ext uri="{D42A27DB-BD31-4B8C-83A1-F6EECF244321}">
                <p14:modId xmlns:p14="http://schemas.microsoft.com/office/powerpoint/2010/main" val="1008553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40" imgH="540" progId="TCLayout.ActiveDocument.1">
                  <p:embed/>
                </p:oleObj>
              </mc:Choice>
              <mc:Fallback>
                <p:oleObj name="think-cell Folie" r:id="rId3" imgW="540"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6E360AC-D065-54D4-D2F4-A158C3710DF5}"/>
              </a:ext>
            </a:extLst>
          </p:cNvPr>
          <p:cNvSpPr>
            <a:spLocks noGrp="1"/>
          </p:cNvSpPr>
          <p:nvPr>
            <p:ph type="title"/>
          </p:nvPr>
        </p:nvSpPr>
        <p:spPr/>
        <p:txBody>
          <a:bodyPr vert="horz"/>
          <a:lstStyle/>
          <a:p>
            <a:r>
              <a:rPr lang="de-DE"/>
              <a:t>Shape verknüpfen </a:t>
            </a:r>
            <a:br>
              <a:rPr lang="de-DE"/>
            </a:br>
            <a:r>
              <a:rPr lang="de-DE"/>
              <a:t>und synchronisieren</a:t>
            </a:r>
            <a:endParaRPr lang="de-DE" dirty="0"/>
          </a:p>
        </p:txBody>
      </p:sp>
      <p:pic>
        <p:nvPicPr>
          <p:cNvPr id="5" name="Grafik 4">
            <a:extLst>
              <a:ext uri="{FF2B5EF4-FFF2-40B4-BE49-F238E27FC236}">
                <a16:creationId xmlns:a16="http://schemas.microsoft.com/office/drawing/2014/main" id="{E2BA60E0-BA3E-597E-4019-347FAFBADC8B}"/>
              </a:ext>
            </a:extLst>
          </p:cNvPr>
          <p:cNvPicPr>
            <a:picLocks noChangeAspect="1"/>
          </p:cNvPicPr>
          <p:nvPr/>
        </p:nvPicPr>
        <p:blipFill>
          <a:blip r:embed="rId5"/>
          <a:stretch>
            <a:fillRect/>
          </a:stretch>
        </p:blipFill>
        <p:spPr>
          <a:xfrm>
            <a:off x="7941717" y="1244566"/>
            <a:ext cx="3258005" cy="5039428"/>
          </a:xfrm>
          <a:prstGeom prst="rect">
            <a:avLst/>
          </a:prstGeom>
        </p:spPr>
      </p:pic>
      <p:sp>
        <p:nvSpPr>
          <p:cNvPr id="6" name="Rechteck 5">
            <a:extLst>
              <a:ext uri="{FF2B5EF4-FFF2-40B4-BE49-F238E27FC236}">
                <a16:creationId xmlns:a16="http://schemas.microsoft.com/office/drawing/2014/main" id="{E71042C2-F7F7-F214-427A-477C536F2036}"/>
              </a:ext>
            </a:extLst>
          </p:cNvPr>
          <p:cNvSpPr/>
          <p:nvPr/>
        </p:nvSpPr>
        <p:spPr>
          <a:xfrm>
            <a:off x="8086196" y="4949613"/>
            <a:ext cx="3028844" cy="933027"/>
          </a:xfrm>
          <a:prstGeom prst="rect">
            <a:avLst/>
          </a:prstGeom>
          <a:noFill/>
          <a:ln w="28575"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extfeld 15">
            <a:extLst>
              <a:ext uri="{FF2B5EF4-FFF2-40B4-BE49-F238E27FC236}">
                <a16:creationId xmlns:a16="http://schemas.microsoft.com/office/drawing/2014/main" id="{616C1703-EC83-6349-0EE1-C46C5BA28BD8}"/>
              </a:ext>
            </a:extLst>
          </p:cNvPr>
          <p:cNvSpPr txBox="1"/>
          <p:nvPr/>
        </p:nvSpPr>
        <p:spPr>
          <a:xfrm>
            <a:off x="2245360" y="3227030"/>
            <a:ext cx="5371369" cy="923330"/>
          </a:xfrm>
          <a:prstGeom prst="rect">
            <a:avLst/>
          </a:prstGeom>
          <a:noFill/>
        </p:spPr>
        <p:txBody>
          <a:bodyPr wrap="square" rtlCol="0">
            <a:spAutoFit/>
          </a:bodyPr>
          <a:lstStyle/>
          <a:p>
            <a:r>
              <a:rPr lang="de-DE" dirty="0"/>
              <a:t>Beim suchen und verknüpfen von Shapes kann sofort danach eine Synchronisierung der wesentlichen Eigenschaften stattfinden.</a:t>
            </a:r>
          </a:p>
        </p:txBody>
      </p:sp>
    </p:spTree>
    <p:extLst>
      <p:ext uri="{BB962C8B-B14F-4D97-AF65-F5344CB8AC3E}">
        <p14:creationId xmlns:p14="http://schemas.microsoft.com/office/powerpoint/2010/main" val="33679037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8" name="Grafik 7"/>
          <p:cNvPicPr>
            <a:picLocks noChangeAspect="1"/>
          </p:cNvPicPr>
          <p:nvPr/>
        </p:nvPicPr>
        <p:blipFill>
          <a:blip r:embed="rId7"/>
          <a:stretch>
            <a:fillRect/>
          </a:stretch>
        </p:blipFill>
        <p:spPr>
          <a:xfrm>
            <a:off x="505596" y="1871472"/>
            <a:ext cx="3257679"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1384995"/>
          </a:xfrm>
          <a:prstGeom prst="rect">
            <a:avLst/>
          </a:prstGeom>
          <a:noFill/>
        </p:spPr>
        <p:txBody>
          <a:bodyPr wrap="square" rtlCol="0">
            <a:spAutoFit/>
          </a:bodyPr>
          <a:lstStyle/>
          <a:p>
            <a:r>
              <a:rPr lang="de-DE" dirty="0"/>
              <a:t>Agenda-</a:t>
            </a:r>
            <a:r>
              <a:rPr lang="de-DE" dirty="0" err="1"/>
              <a:t>Textboxen</a:t>
            </a:r>
            <a:r>
              <a:rPr lang="de-DE" dirty="0"/>
              <a:t> haben nun auch ein kleines Popup</a:t>
            </a:r>
          </a:p>
          <a:p>
            <a:r>
              <a:rPr lang="de-DE" sz="1600" i="1" dirty="0">
                <a:solidFill>
                  <a:schemeClr val="tx1">
                    <a:lumMod val="50000"/>
                    <a:lumOff val="50000"/>
                  </a:schemeClr>
                </a:solidFill>
              </a:rPr>
              <a:t>[Funktioniert nur bei neu angelegten Agenda-Boxen oder nach </a:t>
            </a:r>
            <a:r>
              <a:rPr lang="de-DE" sz="1600" i="1">
                <a:solidFill>
                  <a:schemeClr val="tx1">
                    <a:lumMod val="50000"/>
                    <a:lumOff val="50000"/>
                  </a:schemeClr>
                </a:solidFill>
              </a:rPr>
              <a:t>einem Agenda-Update]</a:t>
            </a:r>
            <a:endParaRPr lang="de-DE" sz="1600" i="1" dirty="0">
              <a:solidFill>
                <a:schemeClr val="tx1">
                  <a:lumMod val="50000"/>
                  <a:lumOff val="50000"/>
                </a:schemeClr>
              </a:solidFill>
            </a:endParaRP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F2898AB-8B0B-31B8-E446-A3D7BC1A9782}"/>
              </a:ext>
            </a:extLst>
          </p:cNvPr>
          <p:cNvGraphicFramePr>
            <a:graphicFrameLocks noChangeAspect="1"/>
          </p:cNvGraphicFramePr>
          <p:nvPr>
            <p:custDataLst>
              <p:tags r:id="rId1"/>
            </p:custDataLst>
            <p:extLst>
              <p:ext uri="{D42A27DB-BD31-4B8C-83A1-F6EECF244321}">
                <p14:modId xmlns:p14="http://schemas.microsoft.com/office/powerpoint/2010/main" val="2712840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40" imgH="540" progId="TCLayout.ActiveDocument.1">
                  <p:embed/>
                </p:oleObj>
              </mc:Choice>
              <mc:Fallback>
                <p:oleObj name="think-cell Folie" r:id="rId3" imgW="540"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65AC97-7BB1-3E98-0D76-C51E6EE702A7}"/>
              </a:ext>
            </a:extLst>
          </p:cNvPr>
          <p:cNvSpPr>
            <a:spLocks noGrp="1"/>
          </p:cNvSpPr>
          <p:nvPr>
            <p:ph type="title"/>
          </p:nvPr>
        </p:nvSpPr>
        <p:spPr/>
        <p:txBody>
          <a:bodyPr vert="horz"/>
          <a:lstStyle/>
          <a:p>
            <a:r>
              <a:rPr lang="de-DE" dirty="0"/>
              <a:t>Verbesserte UI</a:t>
            </a:r>
          </a:p>
        </p:txBody>
      </p:sp>
      <p:sp>
        <p:nvSpPr>
          <p:cNvPr id="11" name="Textfeld 10">
            <a:extLst>
              <a:ext uri="{FF2B5EF4-FFF2-40B4-BE49-F238E27FC236}">
                <a16:creationId xmlns:a16="http://schemas.microsoft.com/office/drawing/2014/main" id="{FF663BB1-D2E8-AED3-1669-BD05D88BECB5}"/>
              </a:ext>
            </a:extLst>
          </p:cNvPr>
          <p:cNvSpPr txBox="1"/>
          <p:nvPr/>
        </p:nvSpPr>
        <p:spPr>
          <a:xfrm>
            <a:off x="838200" y="2282831"/>
            <a:ext cx="10515600" cy="646331"/>
          </a:xfrm>
          <a:prstGeom prst="rect">
            <a:avLst/>
          </a:prstGeom>
          <a:noFill/>
        </p:spPr>
        <p:txBody>
          <a:bodyPr wrap="square" rtlCol="0">
            <a:spAutoFit/>
          </a:bodyPr>
          <a:lstStyle/>
          <a:p>
            <a:r>
              <a:rPr lang="de-DE" dirty="0"/>
              <a:t>Bei typischer Notebook-Auflösung (bspw. 2560x1600 mit 150% Skalierung) passt die gesamte Toolbar ohne Einklappen von Gruppen auf den Bildschirm (insb. unter </a:t>
            </a:r>
            <a:r>
              <a:rPr lang="de-DE" dirty="0" err="1"/>
              <a:t>Win</a:t>
            </a:r>
            <a:r>
              <a:rPr lang="de-DE" dirty="0"/>
              <a:t> 11)</a:t>
            </a:r>
          </a:p>
        </p:txBody>
      </p:sp>
      <p:pic>
        <p:nvPicPr>
          <p:cNvPr id="14" name="Grafik 13">
            <a:extLst>
              <a:ext uri="{FF2B5EF4-FFF2-40B4-BE49-F238E27FC236}">
                <a16:creationId xmlns:a16="http://schemas.microsoft.com/office/drawing/2014/main" id="{8CBA523A-C877-B886-8E76-C646866158A5}"/>
              </a:ext>
            </a:extLst>
          </p:cNvPr>
          <p:cNvPicPr>
            <a:picLocks noChangeAspect="1"/>
          </p:cNvPicPr>
          <p:nvPr/>
        </p:nvPicPr>
        <p:blipFill>
          <a:blip r:embed="rId5"/>
          <a:stretch>
            <a:fillRect/>
          </a:stretch>
        </p:blipFill>
        <p:spPr>
          <a:xfrm>
            <a:off x="0" y="4932332"/>
            <a:ext cx="12192000" cy="725232"/>
          </a:xfrm>
          <a:prstGeom prst="rect">
            <a:avLst/>
          </a:prstGeom>
        </p:spPr>
      </p:pic>
      <p:sp>
        <p:nvSpPr>
          <p:cNvPr id="15" name="Pfeil: nach unten 14">
            <a:extLst>
              <a:ext uri="{FF2B5EF4-FFF2-40B4-BE49-F238E27FC236}">
                <a16:creationId xmlns:a16="http://schemas.microsoft.com/office/drawing/2014/main" id="{5110ABB1-EC34-1746-540D-87E7D5D42202}"/>
              </a:ext>
            </a:extLst>
          </p:cNvPr>
          <p:cNvSpPr/>
          <p:nvPr/>
        </p:nvSpPr>
        <p:spPr>
          <a:xfrm>
            <a:off x="5939118" y="4313312"/>
            <a:ext cx="313765" cy="32273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fik 3">
            <a:extLst>
              <a:ext uri="{FF2B5EF4-FFF2-40B4-BE49-F238E27FC236}">
                <a16:creationId xmlns:a16="http://schemas.microsoft.com/office/drawing/2014/main" id="{DEB116EB-EAF9-7C19-D36A-FCC8D4B84054}"/>
              </a:ext>
            </a:extLst>
          </p:cNvPr>
          <p:cNvPicPr>
            <a:picLocks noChangeAspect="1"/>
          </p:cNvPicPr>
          <p:nvPr/>
        </p:nvPicPr>
        <p:blipFill>
          <a:blip r:embed="rId6"/>
          <a:stretch>
            <a:fillRect/>
          </a:stretch>
        </p:blipFill>
        <p:spPr>
          <a:xfrm>
            <a:off x="0" y="3291791"/>
            <a:ext cx="12192000" cy="725232"/>
          </a:xfrm>
          <a:prstGeom prst="rect">
            <a:avLst/>
          </a:prstGeom>
        </p:spPr>
      </p:pic>
      <p:sp>
        <p:nvSpPr>
          <p:cNvPr id="6" name="Rechteck 5">
            <a:extLst>
              <a:ext uri="{FF2B5EF4-FFF2-40B4-BE49-F238E27FC236}">
                <a16:creationId xmlns:a16="http://schemas.microsoft.com/office/drawing/2014/main" id="{BB1E9A52-023D-5BF6-6880-B51A0B413C39}"/>
              </a:ext>
            </a:extLst>
          </p:cNvPr>
          <p:cNvSpPr/>
          <p:nvPr/>
        </p:nvSpPr>
        <p:spPr>
          <a:xfrm>
            <a:off x="9242191" y="3240291"/>
            <a:ext cx="2906850" cy="2468774"/>
          </a:xfrm>
          <a:prstGeom prst="rect">
            <a:avLst/>
          </a:prstGeom>
          <a:noFill/>
          <a:ln w="28575"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24940798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6"/>
          <a:stretch>
            <a:fillRect/>
          </a:stretch>
        </p:blipFill>
        <p:spPr>
          <a:xfrm>
            <a:off x="3252498" y="3163969"/>
            <a:ext cx="3571669" cy="1572069"/>
          </a:xfrm>
          <a:prstGeom prst="rect">
            <a:avLst/>
          </a:prstGeom>
        </p:spPr>
      </p:pic>
      <p:pic>
        <p:nvPicPr>
          <p:cNvPr id="18" name="Grafik 17"/>
          <p:cNvPicPr>
            <a:picLocks noChangeAspect="1"/>
          </p:cNvPicPr>
          <p:nvPr/>
        </p:nvPicPr>
        <p:blipFill>
          <a:blip r:embed="rId7"/>
          <a:stretch>
            <a:fillRect/>
          </a:stretch>
        </p:blipFill>
        <p:spPr>
          <a:xfrm>
            <a:off x="5750027" y="5006118"/>
            <a:ext cx="1513682" cy="1366603"/>
          </a:xfrm>
          <a:prstGeom prst="rect">
            <a:avLst/>
          </a:prstGeom>
        </p:spPr>
      </p:pic>
      <p:pic>
        <p:nvPicPr>
          <p:cNvPr id="19" name="Grafik 18"/>
          <p:cNvPicPr>
            <a:picLocks noChangeAspect="1"/>
          </p:cNvPicPr>
          <p:nvPr/>
        </p:nvPicPr>
        <p:blipFill>
          <a:blip r:embed="rId8"/>
          <a:stretch>
            <a:fillRect/>
          </a:stretch>
        </p:blipFill>
        <p:spPr>
          <a:xfrm>
            <a:off x="356235" y="1342553"/>
            <a:ext cx="1749103" cy="1591527"/>
          </a:xfrm>
          <a:prstGeom prst="rect">
            <a:avLst/>
          </a:prstGeom>
        </p:spPr>
      </p:pic>
      <p:pic>
        <p:nvPicPr>
          <p:cNvPr id="21" name="Grafik 20"/>
          <p:cNvPicPr>
            <a:picLocks noChangeAspect="1"/>
          </p:cNvPicPr>
          <p:nvPr/>
        </p:nvPicPr>
        <p:blipFill>
          <a:blip r:embed="rId9"/>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0"/>
          <a:stretch>
            <a:fillRect/>
          </a:stretch>
        </p:blipFill>
        <p:spPr>
          <a:xfrm>
            <a:off x="6163863" y="1337932"/>
            <a:ext cx="806456" cy="1153477"/>
          </a:xfrm>
          <a:prstGeom prst="rect">
            <a:avLst/>
          </a:prstGeom>
        </p:spPr>
      </p:pic>
      <p:pic>
        <p:nvPicPr>
          <p:cNvPr id="23" name="Grafik 22"/>
          <p:cNvPicPr>
            <a:picLocks noChangeAspect="1"/>
          </p:cNvPicPr>
          <p:nvPr/>
        </p:nvPicPr>
        <p:blipFill>
          <a:blip r:embed="rId11"/>
          <a:stretch>
            <a:fillRect/>
          </a:stretch>
        </p:blipFill>
        <p:spPr>
          <a:xfrm>
            <a:off x="6944468" y="1797945"/>
            <a:ext cx="899321" cy="1133926"/>
          </a:xfrm>
          <a:prstGeom prst="rect">
            <a:avLst/>
          </a:prstGeom>
        </p:spPr>
      </p:pic>
      <p:pic>
        <p:nvPicPr>
          <p:cNvPr id="24" name="Grafik 23"/>
          <p:cNvPicPr>
            <a:picLocks noChangeAspect="1"/>
          </p:cNvPicPr>
          <p:nvPr/>
        </p:nvPicPr>
        <p:blipFill>
          <a:blip r:embed="rId12"/>
          <a:stretch>
            <a:fillRect/>
          </a:stretch>
        </p:blipFill>
        <p:spPr>
          <a:xfrm>
            <a:off x="9337023" y="2359111"/>
            <a:ext cx="1954977" cy="2944685"/>
          </a:xfrm>
          <a:prstGeom prst="rect">
            <a:avLst/>
          </a:prstGeom>
        </p:spPr>
      </p:pic>
      <p:pic>
        <p:nvPicPr>
          <p:cNvPr id="25" name="Grafik 24"/>
          <p:cNvPicPr>
            <a:picLocks noChangeAspect="1"/>
          </p:cNvPicPr>
          <p:nvPr/>
        </p:nvPicPr>
        <p:blipFill>
          <a:blip r:embed="rId13"/>
          <a:stretch>
            <a:fillRect/>
          </a:stretch>
        </p:blipFill>
        <p:spPr>
          <a:xfrm>
            <a:off x="9173025" y="5583117"/>
            <a:ext cx="2713249" cy="760158"/>
          </a:xfrm>
          <a:prstGeom prst="rect">
            <a:avLst/>
          </a:prstGeom>
        </p:spPr>
      </p:pic>
      <p:pic>
        <p:nvPicPr>
          <p:cNvPr id="27" name="Grafik 26"/>
          <p:cNvPicPr>
            <a:picLocks noChangeAspect="1"/>
          </p:cNvPicPr>
          <p:nvPr/>
        </p:nvPicPr>
        <p:blipFill>
          <a:blip r:embed="rId14"/>
          <a:stretch>
            <a:fillRect/>
          </a:stretch>
        </p:blipFill>
        <p:spPr>
          <a:xfrm>
            <a:off x="3555444" y="4997499"/>
            <a:ext cx="1878271" cy="1166291"/>
          </a:xfrm>
          <a:prstGeom prst="rect">
            <a:avLst/>
          </a:prstGeom>
        </p:spPr>
      </p:pic>
      <p:pic>
        <p:nvPicPr>
          <p:cNvPr id="29" name="Grafik 28"/>
          <p:cNvPicPr>
            <a:picLocks noChangeAspect="1"/>
          </p:cNvPicPr>
          <p:nvPr/>
        </p:nvPicPr>
        <p:blipFill>
          <a:blip r:embed="rId15"/>
          <a:stretch>
            <a:fillRect/>
          </a:stretch>
        </p:blipFill>
        <p:spPr>
          <a:xfrm>
            <a:off x="3239132" y="1355754"/>
            <a:ext cx="937341" cy="845893"/>
          </a:xfrm>
          <a:prstGeom prst="rect">
            <a:avLst/>
          </a:prstGeom>
        </p:spPr>
      </p:pic>
      <p:pic>
        <p:nvPicPr>
          <p:cNvPr id="87" name="Grafik 8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7"/>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8"/>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9"/>
          <a:stretch>
            <a:fillRect/>
          </a:stretch>
        </p:blipFill>
        <p:spPr>
          <a:xfrm>
            <a:off x="1907861" y="2737854"/>
            <a:ext cx="1055195" cy="796470"/>
          </a:xfrm>
          <a:prstGeom prst="rect">
            <a:avLst/>
          </a:prstGeom>
        </p:spPr>
      </p:pic>
      <p:pic>
        <p:nvPicPr>
          <p:cNvPr id="45" name="Grafik 44"/>
          <p:cNvPicPr>
            <a:picLocks noChangeAspect="1"/>
          </p:cNvPicPr>
          <p:nvPr/>
        </p:nvPicPr>
        <p:blipFill>
          <a:blip r:embed="rId10"/>
          <a:stretch>
            <a:fillRect/>
          </a:stretch>
        </p:blipFill>
        <p:spPr>
          <a:xfrm>
            <a:off x="6047080" y="2697085"/>
            <a:ext cx="1169985" cy="706406"/>
          </a:xfrm>
          <a:prstGeom prst="rect">
            <a:avLst/>
          </a:prstGeom>
        </p:spPr>
      </p:pic>
      <p:pic>
        <p:nvPicPr>
          <p:cNvPr id="49" name="Grafik 48"/>
          <p:cNvPicPr>
            <a:picLocks noChangeAspect="1"/>
          </p:cNvPicPr>
          <p:nvPr/>
        </p:nvPicPr>
        <p:blipFill>
          <a:blip r:embed="rId11"/>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2"/>
          <a:srcRect t="43791"/>
          <a:stretch/>
        </p:blipFill>
        <p:spPr>
          <a:xfrm>
            <a:off x="1807026" y="4205750"/>
            <a:ext cx="1486492" cy="521410"/>
          </a:xfrm>
          <a:prstGeom prst="rect">
            <a:avLst/>
          </a:prstGeom>
        </p:spPr>
      </p:pic>
      <p:pic>
        <p:nvPicPr>
          <p:cNvPr id="53" name="Grafik 52"/>
          <p:cNvPicPr>
            <a:picLocks noChangeAspect="1"/>
          </p:cNvPicPr>
          <p:nvPr/>
        </p:nvPicPr>
        <p:blipFill>
          <a:blip r:embed="rId13"/>
          <a:stretch>
            <a:fillRect/>
          </a:stretch>
        </p:blipFill>
        <p:spPr>
          <a:xfrm>
            <a:off x="430072" y="1350964"/>
            <a:ext cx="3504066" cy="744437"/>
          </a:xfrm>
          <a:prstGeom prst="rect">
            <a:avLst/>
          </a:prstGeom>
        </p:spPr>
      </p:pic>
      <p:pic>
        <p:nvPicPr>
          <p:cNvPr id="55" name="Grafik 54"/>
          <p:cNvPicPr>
            <a:picLocks noChangeAspect="1"/>
          </p:cNvPicPr>
          <p:nvPr/>
        </p:nvPicPr>
        <p:blipFill>
          <a:blip r:embed="rId14"/>
          <a:stretch>
            <a:fillRect/>
          </a:stretch>
        </p:blipFill>
        <p:spPr>
          <a:xfrm>
            <a:off x="9036180" y="1422250"/>
            <a:ext cx="1282567" cy="2732426"/>
          </a:xfrm>
          <a:prstGeom prst="rect">
            <a:avLst/>
          </a:prstGeom>
        </p:spPr>
      </p:pic>
      <p:pic>
        <p:nvPicPr>
          <p:cNvPr id="57" name="Grafik 56"/>
          <p:cNvPicPr>
            <a:picLocks noChangeAspect="1"/>
          </p:cNvPicPr>
          <p:nvPr/>
        </p:nvPicPr>
        <p:blipFill>
          <a:blip r:embed="rId15"/>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6"/>
          <a:stretch>
            <a:fillRect/>
          </a:stretch>
        </p:blipFill>
        <p:spPr>
          <a:xfrm>
            <a:off x="4934968" y="2723509"/>
            <a:ext cx="908287" cy="951131"/>
          </a:xfrm>
          <a:prstGeom prst="rect">
            <a:avLst/>
          </a:prstGeom>
        </p:spPr>
      </p:pic>
      <p:pic>
        <p:nvPicPr>
          <p:cNvPr id="79" name="Grafik 78"/>
          <p:cNvPicPr>
            <a:picLocks noChangeAspect="1"/>
          </p:cNvPicPr>
          <p:nvPr/>
        </p:nvPicPr>
        <p:blipFill>
          <a:blip r:embed="rId17"/>
          <a:stretch>
            <a:fillRect/>
          </a:stretch>
        </p:blipFill>
        <p:spPr>
          <a:xfrm>
            <a:off x="9659092" y="1328930"/>
            <a:ext cx="2321173" cy="374743"/>
          </a:xfrm>
          <a:prstGeom prst="rect">
            <a:avLst/>
          </a:prstGeom>
        </p:spPr>
      </p:pic>
      <p:pic>
        <p:nvPicPr>
          <p:cNvPr id="80" name="Grafik 79"/>
          <p:cNvPicPr>
            <a:picLocks noChangeAspect="1"/>
          </p:cNvPicPr>
          <p:nvPr/>
        </p:nvPicPr>
        <p:blipFill>
          <a:blip r:embed="rId18"/>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19"/>
          <a:srcRect r="52287"/>
          <a:stretch/>
        </p:blipFill>
        <p:spPr>
          <a:xfrm>
            <a:off x="9984432" y="4438277"/>
            <a:ext cx="1785227" cy="1976880"/>
          </a:xfrm>
          <a:prstGeom prst="rect">
            <a:avLst/>
          </a:prstGeom>
        </p:spPr>
      </p:pic>
      <p:pic>
        <p:nvPicPr>
          <p:cNvPr id="88" name="Grafik 87"/>
          <p:cNvPicPr>
            <a:picLocks noChangeAspect="1"/>
          </p:cNvPicPr>
          <p:nvPr/>
        </p:nvPicPr>
        <p:blipFill>
          <a:blip r:embed="rId20"/>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1"/>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3"/>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2"/>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3"/>
          <a:stretch>
            <a:fillRect/>
          </a:stretch>
        </p:blipFill>
        <p:spPr>
          <a:xfrm>
            <a:off x="274201" y="4924784"/>
            <a:ext cx="1859986" cy="1428546"/>
          </a:xfrm>
          <a:prstGeom prst="rect">
            <a:avLst/>
          </a:prstGeom>
        </p:spPr>
      </p:pic>
      <p:pic>
        <p:nvPicPr>
          <p:cNvPr id="11" name="Grafik 10"/>
          <p:cNvPicPr>
            <a:picLocks noChangeAspect="1"/>
          </p:cNvPicPr>
          <p:nvPr/>
        </p:nvPicPr>
        <p:blipFill>
          <a:blip r:embed="rId24"/>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6"/>
          <a:stretch>
            <a:fillRect/>
          </a:stretch>
        </p:blipFill>
        <p:spPr>
          <a:xfrm>
            <a:off x="354853" y="3762906"/>
            <a:ext cx="2475275" cy="2536188"/>
          </a:xfrm>
          <a:prstGeom prst="rect">
            <a:avLst/>
          </a:prstGeom>
        </p:spPr>
      </p:pic>
      <p:pic>
        <p:nvPicPr>
          <p:cNvPr id="10" name="Grafik 9"/>
          <p:cNvPicPr>
            <a:picLocks noChangeAspect="1"/>
          </p:cNvPicPr>
          <p:nvPr/>
        </p:nvPicPr>
        <p:blipFill>
          <a:blip r:embed="rId7"/>
          <a:stretch>
            <a:fillRect/>
          </a:stretch>
        </p:blipFill>
        <p:spPr>
          <a:xfrm>
            <a:off x="6425515" y="1391982"/>
            <a:ext cx="2502606" cy="1237348"/>
          </a:xfrm>
          <a:prstGeom prst="rect">
            <a:avLst/>
          </a:prstGeom>
        </p:spPr>
      </p:pic>
      <p:pic>
        <p:nvPicPr>
          <p:cNvPr id="11" name="Grafik 10"/>
          <p:cNvPicPr>
            <a:picLocks noChangeAspect="1"/>
          </p:cNvPicPr>
          <p:nvPr/>
        </p:nvPicPr>
        <p:blipFill>
          <a:blip r:embed="rId8"/>
          <a:stretch>
            <a:fillRect/>
          </a:stretch>
        </p:blipFill>
        <p:spPr>
          <a:xfrm>
            <a:off x="3718564" y="5296349"/>
            <a:ext cx="2089772" cy="1013849"/>
          </a:xfrm>
          <a:prstGeom prst="rect">
            <a:avLst/>
          </a:prstGeom>
        </p:spPr>
      </p:pic>
      <p:pic>
        <p:nvPicPr>
          <p:cNvPr id="15" name="Grafik 14"/>
          <p:cNvPicPr>
            <a:picLocks noChangeAspect="1"/>
          </p:cNvPicPr>
          <p:nvPr/>
        </p:nvPicPr>
        <p:blipFill>
          <a:blip r:embed="rId9"/>
          <a:stretch>
            <a:fillRect/>
          </a:stretch>
        </p:blipFill>
        <p:spPr>
          <a:xfrm>
            <a:off x="10924890" y="5157037"/>
            <a:ext cx="1036410" cy="861135"/>
          </a:xfrm>
          <a:prstGeom prst="rect">
            <a:avLst/>
          </a:prstGeom>
        </p:spPr>
      </p:pic>
      <p:pic>
        <p:nvPicPr>
          <p:cNvPr id="16" name="Grafik 15"/>
          <p:cNvPicPr>
            <a:picLocks noChangeAspect="1"/>
          </p:cNvPicPr>
          <p:nvPr/>
        </p:nvPicPr>
        <p:blipFill>
          <a:blip r:embed="rId10"/>
          <a:stretch>
            <a:fillRect/>
          </a:stretch>
        </p:blipFill>
        <p:spPr>
          <a:xfrm>
            <a:off x="3718564" y="3544967"/>
            <a:ext cx="2948585" cy="1281137"/>
          </a:xfrm>
          <a:prstGeom prst="rect">
            <a:avLst/>
          </a:prstGeom>
        </p:spPr>
      </p:pic>
      <p:pic>
        <p:nvPicPr>
          <p:cNvPr id="17" name="Grafik 16"/>
          <p:cNvPicPr>
            <a:picLocks noChangeAspect="1"/>
          </p:cNvPicPr>
          <p:nvPr/>
        </p:nvPicPr>
        <p:blipFill>
          <a:blip r:embed="rId11"/>
          <a:stretch>
            <a:fillRect/>
          </a:stretch>
        </p:blipFill>
        <p:spPr>
          <a:xfrm>
            <a:off x="9574406" y="1399261"/>
            <a:ext cx="2324824" cy="3334860"/>
          </a:xfrm>
          <a:prstGeom prst="rect">
            <a:avLst/>
          </a:prstGeom>
        </p:spPr>
      </p:pic>
      <p:pic>
        <p:nvPicPr>
          <p:cNvPr id="18" name="Grafik 17"/>
          <p:cNvPicPr>
            <a:picLocks noChangeAspect="1"/>
          </p:cNvPicPr>
          <p:nvPr/>
        </p:nvPicPr>
        <p:blipFill>
          <a:blip r:embed="rId12"/>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3"/>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4"/>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592" imgH="588" progId="TCLayout.ActiveDocument.1">
                  <p:embed/>
                </p:oleObj>
              </mc:Choice>
              <mc:Fallback>
                <p:oleObj name="think-cell Folie" r:id="rId4" imgW="592" imgH="588" progId="TCLayout.ActiveDocument.1">
                  <p:embed/>
                  <p:pic>
                    <p:nvPicPr>
                      <p:cNvPr id="14" name="Objekt 1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6"/>
          <a:stretch>
            <a:fillRect/>
          </a:stretch>
        </p:blipFill>
        <p:spPr>
          <a:xfrm>
            <a:off x="356613" y="1552414"/>
            <a:ext cx="2507251" cy="2889866"/>
          </a:xfrm>
          <a:prstGeom prst="rect">
            <a:avLst/>
          </a:prstGeom>
        </p:spPr>
      </p:pic>
      <p:pic>
        <p:nvPicPr>
          <p:cNvPr id="7" name="Grafik 6"/>
          <p:cNvPicPr>
            <a:picLocks noChangeAspect="1"/>
          </p:cNvPicPr>
          <p:nvPr/>
        </p:nvPicPr>
        <p:blipFill>
          <a:blip r:embed="rId7"/>
          <a:stretch>
            <a:fillRect/>
          </a:stretch>
        </p:blipFill>
        <p:spPr>
          <a:xfrm>
            <a:off x="9633999" y="1952482"/>
            <a:ext cx="1009423" cy="1731997"/>
          </a:xfrm>
          <a:prstGeom prst="rect">
            <a:avLst/>
          </a:prstGeom>
        </p:spPr>
      </p:pic>
      <p:pic>
        <p:nvPicPr>
          <p:cNvPr id="8" name="Grafik 7"/>
          <p:cNvPicPr>
            <a:picLocks noChangeAspect="1"/>
          </p:cNvPicPr>
          <p:nvPr/>
        </p:nvPicPr>
        <p:blipFill>
          <a:blip r:embed="rId8"/>
          <a:stretch>
            <a:fillRect/>
          </a:stretch>
        </p:blipFill>
        <p:spPr>
          <a:xfrm>
            <a:off x="10488488" y="1576332"/>
            <a:ext cx="1337290" cy="1489750"/>
          </a:xfrm>
          <a:prstGeom prst="rect">
            <a:avLst/>
          </a:prstGeom>
        </p:spPr>
      </p:pic>
      <p:pic>
        <p:nvPicPr>
          <p:cNvPr id="70" name="Grafik 69"/>
          <p:cNvPicPr>
            <a:picLocks noChangeAspect="1"/>
          </p:cNvPicPr>
          <p:nvPr/>
        </p:nvPicPr>
        <p:blipFill>
          <a:blip r:embed="rId9"/>
          <a:stretch>
            <a:fillRect/>
          </a:stretch>
        </p:blipFill>
        <p:spPr>
          <a:xfrm>
            <a:off x="826797" y="5569747"/>
            <a:ext cx="1760531" cy="769504"/>
          </a:xfrm>
          <a:prstGeom prst="rect">
            <a:avLst/>
          </a:prstGeom>
        </p:spPr>
      </p:pic>
      <p:pic>
        <p:nvPicPr>
          <p:cNvPr id="71" name="Grafik 70"/>
          <p:cNvPicPr>
            <a:picLocks noChangeAspect="1"/>
          </p:cNvPicPr>
          <p:nvPr/>
        </p:nvPicPr>
        <p:blipFill>
          <a:blip r:embed="rId10"/>
          <a:stretch>
            <a:fillRect/>
          </a:stretch>
        </p:blipFill>
        <p:spPr>
          <a:xfrm>
            <a:off x="5470242" y="4100915"/>
            <a:ext cx="571083" cy="2093974"/>
          </a:xfrm>
          <a:prstGeom prst="rect">
            <a:avLst/>
          </a:prstGeom>
        </p:spPr>
      </p:pic>
      <p:pic>
        <p:nvPicPr>
          <p:cNvPr id="73" name="Grafik 72"/>
          <p:cNvPicPr>
            <a:picLocks noChangeAspect="1"/>
          </p:cNvPicPr>
          <p:nvPr/>
        </p:nvPicPr>
        <p:blipFill>
          <a:blip r:embed="rId11"/>
          <a:stretch>
            <a:fillRect/>
          </a:stretch>
        </p:blipFill>
        <p:spPr>
          <a:xfrm>
            <a:off x="7891222" y="4142334"/>
            <a:ext cx="3910108" cy="2207640"/>
          </a:xfrm>
          <a:prstGeom prst="rect">
            <a:avLst/>
          </a:prstGeom>
        </p:spPr>
      </p:pic>
      <p:pic>
        <p:nvPicPr>
          <p:cNvPr id="45" name="Grafik 44"/>
          <p:cNvPicPr>
            <a:picLocks noChangeAspect="1"/>
          </p:cNvPicPr>
          <p:nvPr/>
        </p:nvPicPr>
        <p:blipFill>
          <a:blip r:embed="rId12"/>
          <a:stretch>
            <a:fillRect/>
          </a:stretch>
        </p:blipFill>
        <p:spPr>
          <a:xfrm>
            <a:off x="3377602" y="2530910"/>
            <a:ext cx="1858654" cy="1679363"/>
          </a:xfrm>
          <a:prstGeom prst="rect">
            <a:avLst/>
          </a:prstGeom>
        </p:spPr>
      </p:pic>
      <p:pic>
        <p:nvPicPr>
          <p:cNvPr id="46" name="Grafik 45"/>
          <p:cNvPicPr>
            <a:picLocks noChangeAspect="1"/>
          </p:cNvPicPr>
          <p:nvPr/>
        </p:nvPicPr>
        <p:blipFill>
          <a:blip r:embed="rId13"/>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4"/>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5"/>
          <a:stretch>
            <a:fillRect/>
          </a:stretch>
        </p:blipFill>
        <p:spPr>
          <a:xfrm>
            <a:off x="8233695" y="1628907"/>
            <a:ext cx="1103569" cy="1426222"/>
          </a:xfrm>
          <a:prstGeom prst="rect">
            <a:avLst/>
          </a:prstGeom>
        </p:spPr>
      </p:pic>
      <p:pic>
        <p:nvPicPr>
          <p:cNvPr id="10" name="Grafik 9"/>
          <p:cNvPicPr>
            <a:picLocks noChangeAspect="1"/>
          </p:cNvPicPr>
          <p:nvPr/>
        </p:nvPicPr>
        <p:blipFill>
          <a:blip r:embed="rId16"/>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6"/>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7"/>
          <a:stretch>
            <a:fillRect/>
          </a:stretch>
        </p:blipFill>
        <p:spPr>
          <a:xfrm>
            <a:off x="335360" y="2573156"/>
            <a:ext cx="8730282" cy="770113"/>
          </a:xfrm>
          <a:prstGeom prst="rect">
            <a:avLst/>
          </a:prstGeom>
        </p:spPr>
      </p:pic>
      <p:pic>
        <p:nvPicPr>
          <p:cNvPr id="15" name="Grafik 14"/>
          <p:cNvPicPr>
            <a:picLocks noChangeAspect="1"/>
          </p:cNvPicPr>
          <p:nvPr/>
        </p:nvPicPr>
        <p:blipFill>
          <a:blip r:embed="rId8"/>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9"/>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0"/>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1"/>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2"/>
          <a:stretch>
            <a:fillRect/>
          </a:stretch>
        </p:blipFill>
        <p:spPr>
          <a:xfrm>
            <a:off x="4306364" y="3555561"/>
            <a:ext cx="1356478" cy="838273"/>
          </a:xfrm>
          <a:prstGeom prst="rect">
            <a:avLst/>
          </a:prstGeom>
        </p:spPr>
      </p:pic>
      <p:pic>
        <p:nvPicPr>
          <p:cNvPr id="30" name="Grafik 29"/>
          <p:cNvPicPr>
            <a:picLocks noChangeAspect="1"/>
          </p:cNvPicPr>
          <p:nvPr/>
        </p:nvPicPr>
        <p:blipFill>
          <a:blip r:embed="rId13"/>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4"/>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8F6816-2DC6-10C0-7650-23B599DDA6C8}"/>
              </a:ext>
            </a:extLst>
          </p:cNvPr>
          <p:cNvGraphicFramePr>
            <a:graphicFrameLocks noChangeAspect="1"/>
          </p:cNvGraphicFramePr>
          <p:nvPr>
            <p:custDataLst>
              <p:tags r:id="rId1"/>
            </p:custDataLst>
            <p:extLst>
              <p:ext uri="{D42A27DB-BD31-4B8C-83A1-F6EECF244321}">
                <p14:modId xmlns:p14="http://schemas.microsoft.com/office/powerpoint/2010/main" val="2239741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40" imgH="540" progId="TCLayout.ActiveDocument.1">
                  <p:embed/>
                </p:oleObj>
              </mc:Choice>
              <mc:Fallback>
                <p:oleObj name="think-cell Folie" r:id="rId3" imgW="540"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BEB2A6E-B37F-E33E-C2DB-991A93FA4463}"/>
              </a:ext>
            </a:extLst>
          </p:cNvPr>
          <p:cNvSpPr>
            <a:spLocks noGrp="1"/>
          </p:cNvSpPr>
          <p:nvPr>
            <p:ph type="title"/>
          </p:nvPr>
        </p:nvSpPr>
        <p:spPr/>
        <p:txBody>
          <a:bodyPr vert="horz"/>
          <a:lstStyle/>
          <a:p>
            <a:r>
              <a:rPr lang="de-DE" dirty="0"/>
              <a:t>Erwähnenswerte Bugfixes</a:t>
            </a:r>
            <a:endParaRPr lang="en-US" dirty="0"/>
          </a:p>
        </p:txBody>
      </p:sp>
      <p:sp>
        <p:nvSpPr>
          <p:cNvPr id="3" name="Inhaltsplatzhalter 2">
            <a:extLst>
              <a:ext uri="{FF2B5EF4-FFF2-40B4-BE49-F238E27FC236}">
                <a16:creationId xmlns:a16="http://schemas.microsoft.com/office/drawing/2014/main" id="{F4D52F82-BFD9-E215-C002-C34AA553AA7B}"/>
              </a:ext>
            </a:extLst>
          </p:cNvPr>
          <p:cNvSpPr>
            <a:spLocks noGrp="1"/>
          </p:cNvSpPr>
          <p:nvPr>
            <p:ph idx="1"/>
          </p:nvPr>
        </p:nvSpPr>
        <p:spPr/>
        <p:txBody>
          <a:bodyPr/>
          <a:lstStyle/>
          <a:p>
            <a:pPr marL="447675" indent="-447675">
              <a:spcBef>
                <a:spcPts val="1500"/>
              </a:spcBef>
              <a:spcAft>
                <a:spcPts val="1500"/>
              </a:spcAft>
              <a:buFont typeface="Wingdings" panose="05000000000000000000" pitchFamily="2" charset="2"/>
              <a:buChar char="Ø"/>
            </a:pPr>
            <a:r>
              <a:rPr lang="de-DE" dirty="0"/>
              <a:t>Hyperlinks in Agenda funktionieren wieder</a:t>
            </a:r>
          </a:p>
          <a:p>
            <a:pPr marL="447675" indent="-447675">
              <a:spcBef>
                <a:spcPts val="1500"/>
              </a:spcBef>
              <a:spcAft>
                <a:spcPts val="1500"/>
              </a:spcAft>
              <a:buFont typeface="Wingdings" panose="05000000000000000000" pitchFamily="2" charset="2"/>
              <a:buChar char="Ø"/>
            </a:pPr>
            <a:r>
              <a:rPr lang="de-DE" dirty="0"/>
              <a:t>Schalter </a:t>
            </a:r>
            <a:r>
              <a:rPr lang="de-DE" dirty="0" err="1"/>
              <a:t>WordWrap</a:t>
            </a:r>
            <a:r>
              <a:rPr lang="de-DE" dirty="0"/>
              <a:t> und </a:t>
            </a:r>
            <a:r>
              <a:rPr lang="de-DE" dirty="0" err="1"/>
              <a:t>AutoSize</a:t>
            </a:r>
            <a:r>
              <a:rPr lang="de-DE" dirty="0"/>
              <a:t> gehen bei Gruppen</a:t>
            </a:r>
          </a:p>
          <a:p>
            <a:pPr marL="447675" indent="-447675">
              <a:spcBef>
                <a:spcPts val="1500"/>
              </a:spcBef>
              <a:spcAft>
                <a:spcPts val="1500"/>
              </a:spcAft>
              <a:buFont typeface="Wingdings" panose="05000000000000000000" pitchFamily="2" charset="2"/>
              <a:buChar char="Ø"/>
            </a:pPr>
            <a:r>
              <a:rPr lang="de-DE" dirty="0"/>
              <a:t>Shape skalieren stolpert nicht mehr über gewisse Textfeld-Formatierungen</a:t>
            </a:r>
          </a:p>
          <a:p>
            <a:pPr marL="447675" indent="-447675">
              <a:spcBef>
                <a:spcPts val="1500"/>
              </a:spcBef>
              <a:spcAft>
                <a:spcPts val="1500"/>
              </a:spcAft>
              <a:buFont typeface="Wingdings" panose="05000000000000000000" pitchFamily="2" charset="2"/>
              <a:buChar char="Ø"/>
            </a:pPr>
            <a:r>
              <a:rPr lang="de-DE" dirty="0"/>
              <a:t>Löschen von </a:t>
            </a:r>
            <a:r>
              <a:rPr lang="de-DE" dirty="0" err="1"/>
              <a:t>ChartLib</a:t>
            </a:r>
            <a:r>
              <a:rPr lang="de-DE" dirty="0"/>
              <a:t>-Libraries geht wieder</a:t>
            </a:r>
          </a:p>
          <a:p>
            <a:pPr marL="447675" indent="-447675">
              <a:spcBef>
                <a:spcPts val="1500"/>
              </a:spcBef>
              <a:spcAft>
                <a:spcPts val="1500"/>
              </a:spcAft>
              <a:buFont typeface="Wingdings" panose="05000000000000000000" pitchFamily="2" charset="2"/>
              <a:buChar char="Ø"/>
            </a:pPr>
            <a:r>
              <a:rPr lang="de-DE" dirty="0" err="1"/>
              <a:t>FontAwesome</a:t>
            </a:r>
            <a:r>
              <a:rPr lang="de-DE" dirty="0"/>
              <a:t> Update auf 6.7.2</a:t>
            </a:r>
          </a:p>
        </p:txBody>
      </p:sp>
    </p:spTree>
    <p:extLst>
      <p:ext uri="{BB962C8B-B14F-4D97-AF65-F5344CB8AC3E}">
        <p14:creationId xmlns:p14="http://schemas.microsoft.com/office/powerpoint/2010/main" val="5298424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94167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3.0.0</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17837964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3E647CA-BD1F-94A9-09D9-98D87C881453}"/>
              </a:ext>
            </a:extLst>
          </p:cNvPr>
          <p:cNvGraphicFramePr>
            <a:graphicFrameLocks noChangeAspect="1"/>
          </p:cNvGraphicFramePr>
          <p:nvPr>
            <p:custDataLst>
              <p:tags r:id="rId1"/>
            </p:custDataLst>
            <p:extLst>
              <p:ext uri="{D42A27DB-BD31-4B8C-83A1-F6EECF244321}">
                <p14:modId xmlns:p14="http://schemas.microsoft.com/office/powerpoint/2010/main" val="2425650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6B99A4E-E562-AF2E-DCB9-089C7EA5BCB9}"/>
              </a:ext>
            </a:extLst>
          </p:cNvPr>
          <p:cNvSpPr>
            <a:spLocks noGrp="1"/>
          </p:cNvSpPr>
          <p:nvPr>
            <p:ph type="title"/>
          </p:nvPr>
        </p:nvSpPr>
        <p:spPr/>
        <p:txBody>
          <a:bodyPr vert="horz"/>
          <a:lstStyle/>
          <a:p>
            <a:r>
              <a:rPr lang="en-US"/>
              <a:t>Upgrade auf IronPython</a:t>
            </a:r>
            <a:r>
              <a:rPr lang="en-US" dirty="0"/>
              <a:t> 3.4.1</a:t>
            </a:r>
          </a:p>
        </p:txBody>
      </p:sp>
      <p:pic>
        <p:nvPicPr>
          <p:cNvPr id="1026" name="Picture 2" descr="IronPython - 开放百科- 灰狐">
            <a:extLst>
              <a:ext uri="{FF2B5EF4-FFF2-40B4-BE49-F238E27FC236}">
                <a16:creationId xmlns:a16="http://schemas.microsoft.com/office/drawing/2014/main" id="{2055868C-1067-5774-6DD1-34DA6E7289B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29038" y="2786063"/>
            <a:ext cx="4733925" cy="1285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08653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96511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2.7.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33883392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101.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102.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07.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BKT_THUMBNAIL" val="{&quot;slide_path&quot;: &quot;CURRENT&quot;, &quot;data_type&quot;: 6, &quot;slide_id&quot;: 296, &quot;content_only&quot;: false}"/>
  <p:tag name="BKT_CONTEXTDIALOG" val="BKT_THUMBNAIL"/>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21.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22.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23.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24.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25.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0Hsq8uy_zlSHSNSiK_9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BKT_PROCESS_CHEVRONS" val="c392e0f8-83b6-4550-a60d-83ce0f1ba16d"/>
  <p:tag name="BKT_CONTEXTDIALOG" val="BKT_PROCESS_CHEVRONS"/>
</p:tagLst>
</file>

<file path=ppt/tags/tag33.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34.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35.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36.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c392e0f8-83b6-4550-a60d-83ce0f1ba16d"/>
</p:tagLst>
</file>

<file path=ppt/tags/tag37.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38.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53.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4.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5.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6.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7.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8.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61mmcnfM.m73i0Za.eEL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VUV13hD4.8AenO4xrBml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bpiMVFsSr15x5BEjUBksn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_cBnA8Qi3i2s1bjTIBYSh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xS.hN7WrnarVM0w02DXS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Hg80xrZUdocwykmm1b9ag"/>
</p:tagLst>
</file>

<file path=ppt/tags/tag73.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3f8da89c-deb1-491a-9054-55eb03f09025"/>
</p:tagLst>
</file>

<file path=ppt/tags/tag74.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75.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76.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77.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78.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YtRv1ZISYCOgUunnBVvZQ"/>
</p:tagLst>
</file>

<file path=ppt/tags/tag81.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0, &quot;shape1_id&quot;: 9}"/>
</p:tagLst>
</file>

<file path=ppt/tags/tag82.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4, &quot;shape1_id&quot;: 3}"/>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NPcX8WiWahoYGGEuJ0MQ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Er7co1_w0RrNSbhy87nz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Vytc4S6XtDclqsGTqYoJ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rTTfE8_H9x_u1RmY4xh_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94.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95.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96.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97.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98.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99.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ngelog.potx" id="{DF1DAFA0-04C0-4CB8-AFF7-B7C43A90C17F}" vid="{77635BAB-0E73-4E19-9CEC-CDFAB68C2A6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angelog</Template>
  <TotalTime>0</TotalTime>
  <Words>1939</Words>
  <Application>Microsoft Office PowerPoint</Application>
  <PresentationFormat>Breitbild</PresentationFormat>
  <Paragraphs>320</Paragraphs>
  <Slides>58</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58</vt:i4>
      </vt:variant>
    </vt:vector>
  </HeadingPairs>
  <TitlesOfParts>
    <vt:vector size="65" baseType="lpstr">
      <vt:lpstr>Arial</vt:lpstr>
      <vt:lpstr>Calibri</vt:lpstr>
      <vt:lpstr>Consolas</vt:lpstr>
      <vt:lpstr>Verdana</vt:lpstr>
      <vt:lpstr>Wingdings</vt:lpstr>
      <vt:lpstr>Office</vt:lpstr>
      <vt:lpstr>think-cell Folie</vt:lpstr>
      <vt:lpstr>BKT v3.0.2</vt:lpstr>
      <vt:lpstr>Verbesserte Font-Icon Suche</vt:lpstr>
      <vt:lpstr>Funktion Auto-Gruppieren</vt:lpstr>
      <vt:lpstr>Shape verknüpfen  und synchronisieren</vt:lpstr>
      <vt:lpstr>Verbesserte UI</vt:lpstr>
      <vt:lpstr>Erwähnenswerte Bugfixes</vt:lpstr>
      <vt:lpstr>BKT v3.0.0</vt:lpstr>
      <vt:lpstr>Upgrade auf IronPython 3.4.1</vt:lpstr>
      <vt:lpstr>BKT v2.7.5</vt:lpstr>
      <vt:lpstr>Klickbare PPT Thumbnails</vt:lpstr>
      <vt:lpstr>Stylische Harvey Moons</vt:lpstr>
      <vt:lpstr>Kleinere Neuigkeiten</vt:lpstr>
      <vt:lpstr>Erwähnenswerte Bugfixes</vt:lpstr>
      <vt:lpstr>BKT v2.7.4</vt:lpstr>
      <vt:lpstr>Prozesse/Kreissegmente bearbeiten</vt:lpstr>
      <vt:lpstr>Small Improvements</vt:lpstr>
      <vt:lpstr>Excel Verbesserungen</vt:lpstr>
      <vt:lpstr>Erwähnenswerte Bugfixes</vt:lpstr>
      <vt:lpstr>BKT v2.7.3</vt:lpstr>
      <vt:lpstr>Small Improvements</vt:lpstr>
      <vt:lpstr>Bugfixes</vt:lpstr>
      <vt:lpstr>BKT v2.7.2</vt:lpstr>
      <vt:lpstr>Verbesserung “Verknüpfte Shapes”</vt:lpstr>
      <vt:lpstr>Funktion “Folien angleichen”</vt:lpstr>
      <vt:lpstr>Copy-Paste Funktionen</vt:lpstr>
      <vt:lpstr>Kleine Neuigkeiten</vt:lpstr>
      <vt:lpstr>Diverse Verbesserungen</vt:lpstr>
      <vt:lpstr>BKT v2.7.1</vt:lpstr>
      <vt:lpstr>Neue Funktion “Shape skalieren”</vt:lpstr>
      <vt:lpstr>Verbesserte und neue Smart-Shapes</vt:lpstr>
      <vt:lpstr>Verbindungsflächen bei Prozessen</vt:lpstr>
      <vt:lpstr>Neue Folien-Funktionen</vt:lpstr>
      <vt:lpstr>Verbesserte Dialoge</vt:lpstr>
      <vt:lpstr>Komprimierte Schrift/Text-Gruppe</vt:lpstr>
      <vt:lpstr>ChartLib Verbesserungen</vt:lpstr>
      <vt:lpstr>Weitere kleine Verbesserungen</vt:lpstr>
      <vt:lpstr>Erwähnenswerte Bugfixes</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1</dc:title>
  <dc:creator>Florian Stallmann</dc:creator>
  <cp:lastModifiedBy>Stallmann, Florian</cp:lastModifiedBy>
  <cp:revision>140</cp:revision>
  <dcterms:created xsi:type="dcterms:W3CDTF">2020-07-23T18:32:20Z</dcterms:created>
  <dcterms:modified xsi:type="dcterms:W3CDTF">2025-04-24T11:34:25Z</dcterms:modified>
</cp:coreProperties>
</file>